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7" r:id="rId2"/>
    <p:sldId id="295" r:id="rId3"/>
    <p:sldId id="294" r:id="rId4"/>
    <p:sldId id="289" r:id="rId5"/>
    <p:sldId id="307" r:id="rId6"/>
    <p:sldId id="308" r:id="rId7"/>
    <p:sldId id="275" r:id="rId8"/>
    <p:sldId id="293" r:id="rId9"/>
    <p:sldId id="284" r:id="rId10"/>
    <p:sldId id="291" r:id="rId11"/>
    <p:sldId id="269" r:id="rId12"/>
    <p:sldId id="290" r:id="rId13"/>
    <p:sldId id="274" r:id="rId14"/>
  </p:sldIdLst>
  <p:sldSz cx="9144000" cy="6858000" type="screen4x3"/>
  <p:notesSz cx="6815138" cy="99425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FF9900"/>
    <a:srgbClr val="003399"/>
    <a:srgbClr val="336600"/>
    <a:srgbClr val="FF9999"/>
    <a:srgbClr val="FFCCCC"/>
    <a:srgbClr val="FF4747"/>
    <a:srgbClr val="FF8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4660"/>
  </p:normalViewPr>
  <p:slideViewPr>
    <p:cSldViewPr>
      <p:cViewPr varScale="1">
        <p:scale>
          <a:sx n="87" d="100"/>
          <a:sy n="87" d="100"/>
        </p:scale>
        <p:origin x="1512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441860247327612E-2"/>
          <c:y val="0.19548641994680446"/>
          <c:w val="0.92819332000393329"/>
          <c:h val="0.635561327910806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перевезенных пассажиров</c:v>
                </c:pt>
              </c:strCache>
            </c:strRef>
          </c:tx>
          <c:invertIfNegative val="0"/>
          <c:cat>
            <c:strRef>
              <c:f>Лист1!$A$2:$A$4</c:f>
              <c:strCache>
                <c:ptCount val="3"/>
                <c:pt idx="0">
                  <c:v>2011 г.</c:v>
                </c:pt>
                <c:pt idx="1">
                  <c:v>2012 г.</c:v>
                </c:pt>
                <c:pt idx="2">
                  <c:v>2013 г.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000000</c:v>
                </c:pt>
                <c:pt idx="1">
                  <c:v>3244768</c:v>
                </c:pt>
                <c:pt idx="2">
                  <c:v>36751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7826328"/>
        <c:axId val="168526520"/>
      </c:barChart>
      <c:catAx>
        <c:axId val="1678263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68526520"/>
        <c:crosses val="autoZero"/>
        <c:auto val="1"/>
        <c:lblAlgn val="ctr"/>
        <c:lblOffset val="100"/>
        <c:noMultiLvlLbl val="0"/>
      </c:catAx>
      <c:valAx>
        <c:axId val="1685265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678263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937761783627905"/>
          <c:y val="0"/>
          <c:w val="0.29698584258509197"/>
          <c:h val="0.1610733436506915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50">
          <a:solidFill>
            <a:schemeClr val="tx1">
              <a:lumMod val="75000"/>
              <a:lumOff val="25000"/>
            </a:schemeClr>
          </a:solidFill>
          <a:latin typeface="Impact" pitchFamily="34" charset="0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27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0800" y="0"/>
            <a:ext cx="29527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282529-2AD3-4056-BCBB-CE4D03C9F4E8}" type="datetimeFigureOut">
              <a:rPr lang="ru-RU" smtClean="0"/>
              <a:pPr/>
              <a:t>02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27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0800" y="9444038"/>
            <a:ext cx="29527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BAC362-9461-4466-B614-9F2E30777A1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51782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5" y="0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8095B8-C912-415F-AA86-97C5B0533EAA}" type="datetimeFigureOut">
              <a:rPr lang="ru-RU" smtClean="0"/>
              <a:pPr/>
              <a:t>02.11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3925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4" y="4722694"/>
            <a:ext cx="545211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1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5" y="9443661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9333FB-604E-494A-8E61-AE75EB3C26B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43935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5529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2B6FCE-D34F-4A7D-A04B-146E92258426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2516A1-A4BA-44DF-87B2-682955DA1B6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D1718F1-E887-4454-B2AE-E29BCAD1290D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81743B-0A43-423D-92A8-FDF8D47C1B5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84EE1D-4EA9-4C1F-8D59-F941B49F3D4C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561740-4065-4CE7-BC8A-D4441610C03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6988" y="3175"/>
            <a:ext cx="9178926" cy="687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 userDrawn="1"/>
        </p:nvSpPr>
        <p:spPr bwMode="auto">
          <a:xfrm>
            <a:off x="-41275" y="3175"/>
            <a:ext cx="107950" cy="6873875"/>
          </a:xfrm>
          <a:prstGeom prst="rect">
            <a:avLst/>
          </a:prstGeom>
          <a:solidFill>
            <a:schemeClr val="accent5"/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just" eaLnBrk="0" hangingPunct="0"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60398" y="237774"/>
            <a:ext cx="3528392" cy="338524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1"/>
            <a:tileRect/>
          </a:gradFill>
        </p:spPr>
        <p:txBody>
          <a:bodyPr anchor="ctr"/>
          <a:lstStyle>
            <a:lvl1pPr algn="l">
              <a:defRPr sz="1600" b="0">
                <a:solidFill>
                  <a:schemeClr val="bg1"/>
                </a:solidFill>
                <a:latin typeface="Impact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8350" y="231775"/>
            <a:ext cx="620713" cy="365125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9321431F-9A4E-41BC-BFC4-F6DE892B09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0" hangingPunct="0">
              <a:defRPr/>
            </a:pPr>
            <a:endParaRPr lang="ru-RU" sz="160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ru-RU" sz="3200" b="0">
              <a:latin typeface="Calibri" pitchFamily="34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363CED7-4400-42CB-9FA5-02D7DFEE0614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3F9483-4AD6-40AF-9B26-F0DC3113F9F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3B87A91-0DEB-4AA9-B929-91FE2C723B28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FF8EBD-8827-437F-B5D2-EA64D977744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592C5BD-8C63-4B18-BD56-7BB3D937C850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3DE01-D8BA-45C4-8944-E207C9F74641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193FD07-9850-4615-99C2-F58A3C1B078E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7AE8CF-F460-4EF9-AB9F-E6EC09E7A12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96B5334-DEF7-4329-96DF-F852BDE10061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CD8EAE-938A-4541-9F14-EFEEFB0D9EBD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48DB2BF-EDC8-4717-9BB4-2A127BA7D233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4C8C30-9038-4D95-B63F-28FEE19B2A16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03FDEC4-9766-4286-9DCC-14A09078DB9C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D03A73-2A0A-4BB1-AA50-1C46B179FB4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A4AEBBE-E6C8-4450-B5EF-7042751031BA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4B4426-FAE1-405A-A9BA-354CB18E34D1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2550F50F-C2AF-4FDF-B807-23FB090A2BDE}" type="datetime1">
              <a:rPr lang="ru-RU" smtClean="0"/>
              <a:pPr/>
              <a:t>02.11.2014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9C96CBC7-4FC8-44A3-983E-5CCA2FDCF358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9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microsoft.com/office/2007/relationships/hdphoto" Target="../media/hdphoto1.wdp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jpeg"/><Relationship Id="rId5" Type="http://schemas.openxmlformats.org/officeDocument/2006/relationships/image" Target="../media/image17.gif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jpeg"/><Relationship Id="rId11" Type="http://schemas.openxmlformats.org/officeDocument/2006/relationships/image" Target="../media/image9.pn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-1"/>
            <a:ext cx="9144000" cy="6867660"/>
            <a:chOff x="0" y="-1"/>
            <a:chExt cx="9144000" cy="6867660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2" cstate="print">
              <a:grayscl/>
              <a:lum bright="30000"/>
            </a:blip>
            <a:srcRect r="1176" b="1638"/>
            <a:stretch>
              <a:fillRect/>
            </a:stretch>
          </p:blipFill>
          <p:spPr bwMode="auto">
            <a:xfrm>
              <a:off x="0" y="-1"/>
              <a:ext cx="9144000" cy="6858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6" name="Группа 15"/>
            <p:cNvGrpSpPr/>
            <p:nvPr/>
          </p:nvGrpSpPr>
          <p:grpSpPr>
            <a:xfrm>
              <a:off x="1475656" y="404664"/>
              <a:ext cx="5832648" cy="5832648"/>
              <a:chOff x="1619672" y="-31578"/>
              <a:chExt cx="5832648" cy="5832648"/>
            </a:xfrm>
          </p:grpSpPr>
          <p:sp>
            <p:nvSpPr>
              <p:cNvPr id="11" name="Выгнутая вниз стрелка 10"/>
              <p:cNvSpPr/>
              <p:nvPr/>
            </p:nvSpPr>
            <p:spPr>
              <a:xfrm rot="15536300" flipH="1">
                <a:off x="3733957" y="2013722"/>
                <a:ext cx="5323272" cy="2066333"/>
              </a:xfrm>
              <a:prstGeom prst="curvedUpArrow">
                <a:avLst/>
              </a:prstGeom>
              <a:solidFill>
                <a:srgbClr val="0066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Выгнутая вниз стрелка 11"/>
              <p:cNvSpPr/>
              <p:nvPr/>
            </p:nvSpPr>
            <p:spPr>
              <a:xfrm rot="4729086" flipH="1">
                <a:off x="86710" y="1653252"/>
                <a:ext cx="5323272" cy="2066333"/>
              </a:xfrm>
              <a:prstGeom prst="curvedUpArrow">
                <a:avLst/>
              </a:prstGeom>
              <a:solidFill>
                <a:srgbClr val="FF9900">
                  <a:alpha val="6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1026" name="Picture 2" descr="C:\Documents and Settings\medeubaeva_d\Рабочий стол\553px-Kazakhstan_(orthographic_projection).svg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619672" y="-31578"/>
                <a:ext cx="5832648" cy="583264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4" name="TextBox 3"/>
              <p:cNvSpPr txBox="1"/>
              <p:nvPr/>
            </p:nvSpPr>
            <p:spPr>
              <a:xfrm>
                <a:off x="2566662" y="3123390"/>
                <a:ext cx="4032448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4400" b="1" dirty="0">
                  <a:solidFill>
                    <a:srgbClr val="FF99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3531230" y="6590660"/>
              <a:ext cx="15841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428728" y="1928802"/>
              <a:ext cx="6048672" cy="400110"/>
            </a:xfrm>
            <a:prstGeom prst="rect">
              <a:avLst/>
            </a:prstGeom>
            <a:solidFill>
              <a:srgbClr val="FF9900">
                <a:alpha val="70000"/>
              </a:srgb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dirty="0" smtClean="0">
                  <a:solidFill>
                    <a:srgbClr val="006600"/>
                  </a:solidFill>
                  <a:latin typeface="Impact" pitchFamily="34" charset="0"/>
                </a:rPr>
                <a:t>«</a:t>
              </a:r>
              <a:r>
                <a:rPr lang="en-US" sz="2000" dirty="0" smtClean="0">
                  <a:solidFill>
                    <a:srgbClr val="006600"/>
                  </a:solidFill>
                  <a:latin typeface="Impact" pitchFamily="34" charset="0"/>
                </a:rPr>
                <a:t>Development of transit and transport potential</a:t>
              </a:r>
              <a:r>
                <a:rPr lang="ru-RU" sz="2000" dirty="0" smtClean="0">
                  <a:solidFill>
                    <a:srgbClr val="006600"/>
                  </a:solidFill>
                  <a:latin typeface="Impact" pitchFamily="34" charset="0"/>
                </a:rPr>
                <a:t>»</a:t>
              </a:r>
              <a:endParaRPr lang="ru-RU" sz="2000" dirty="0">
                <a:solidFill>
                  <a:srgbClr val="006600"/>
                </a:solidFill>
                <a:latin typeface="Impact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3079" y="548680"/>
            <a:ext cx="8880921" cy="280831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Rectangle 14"/>
          <p:cNvSpPr txBox="1">
            <a:spLocks/>
          </p:cNvSpPr>
          <p:nvPr/>
        </p:nvSpPr>
        <p:spPr bwMode="auto">
          <a:xfrm>
            <a:off x="69404" y="806996"/>
            <a:ext cx="9119696" cy="2952328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 eaLnBrk="1" hangingPunct="1"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Aircraft park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– </a:t>
            </a:r>
            <a:r>
              <a:rPr lang="ru-RU" altLang="ru-RU" sz="1400" dirty="0" smtClean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30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units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Average age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– </a:t>
            </a:r>
            <a:r>
              <a:rPr lang="ru-RU" altLang="ru-RU" sz="1400" dirty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6,5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years</a:t>
            </a:r>
            <a:endParaRPr lang="ru-RU" alt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Calibri" pitchFamily="34" charset="0"/>
            </a:endParaRPr>
          </a:p>
          <a:p>
            <a:pPr marL="285750" indent="-285750" eaLnBrk="1" hangingPunct="1"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Route network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: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domestic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– </a:t>
            </a:r>
            <a:r>
              <a:rPr lang="ru-RU" altLang="ru-RU" sz="1400" dirty="0" smtClean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19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routes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/>
            </a:r>
            <a:b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</a:b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	              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international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– </a:t>
            </a:r>
            <a:r>
              <a:rPr lang="ru-RU" altLang="ru-RU" sz="1400" dirty="0" smtClean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41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routes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Calibri" pitchFamily="34" charset="0"/>
            </a:endParaRPr>
          </a:p>
          <a:p>
            <a:pPr marL="285750" indent="-285750" eaLnBrk="1" hangingPunct="1"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Staff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– </a:t>
            </a:r>
            <a:r>
              <a:rPr lang="ru-RU" altLang="ru-RU" sz="1400" dirty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4198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people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.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Calibri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ru-RU" altLang="ru-RU" sz="1400" dirty="0" smtClean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4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stars rating and the Best Airline of Central Asia and India by </a:t>
            </a:r>
            <a:r>
              <a:rPr lang="en-US" altLang="ru-RU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Skytrax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World Airline Awards 2013 (repeatedly after 2012)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Calibri" pitchFamily="34" charset="0"/>
            </a:endParaRP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Successfully certified </a:t>
            </a:r>
            <a:r>
              <a:rPr lang="ru-RU" altLang="ru-RU" sz="1400" dirty="0" smtClean="0">
                <a:solidFill>
                  <a:srgbClr val="1F9546"/>
                </a:solidFill>
                <a:latin typeface="Impact" pitchFamily="34" charset="0"/>
                <a:cs typeface="Calibri" pitchFamily="34" charset="0"/>
              </a:rPr>
              <a:t>IOSA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for the fourth time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(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the IATA Operational Safety Audit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)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>Since April 10, 2014 the limits on flights to EU countries are lifted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  <a:t/>
            </a:r>
            <a:b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rPr>
            </a:br>
            <a:endParaRPr lang="ru-RU" alt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cs typeface="Calibri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913184" y="3654904"/>
            <a:ext cx="2367386" cy="338524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1"/>
            <a:tileRect/>
          </a:gradFill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>
                <a:solidFill>
                  <a:schemeClr val="bg1"/>
                </a:solidFill>
                <a:latin typeface="Impact" pitchFamily="34" charset="0"/>
                <a:ea typeface="+mj-ea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ru-RU" kern="0" dirty="0">
                <a:cs typeface="Arial" charset="0"/>
              </a:rPr>
              <a:t>РОСТ </a:t>
            </a:r>
            <a:r>
              <a:rPr lang="ru-RU" altLang="ru-RU" kern="0" dirty="0" smtClean="0">
                <a:cs typeface="Arial" charset="0"/>
              </a:rPr>
              <a:t> ПАССАЖИРОПОТОКА</a:t>
            </a:r>
            <a:endParaRPr lang="ru-RU" altLang="ru-RU" kern="0" dirty="0">
              <a:cs typeface="Arial" charset="0"/>
            </a:endParaRPr>
          </a:p>
        </p:txBody>
      </p:sp>
      <p:sp>
        <p:nvSpPr>
          <p:cNvPr id="8" name="AutoShape 2" descr="data:image/jpeg;base64,/9j/4AAQSkZJRgABAQAAAQABAAD/2wCEAAkGBhQQDw8PEBIUEBAPDw8PDxAUFRUQDw8PFBAVFBQQFBQXHCYeFxkkGRQUHy8gIycpLCwsFR8xNTArNSYrLCkBCQoKDgwOFA8PGikcHBwsKSwpLCksKSkpKSkpLCwsKSwsKSksKSkpKSksKSkpKSkpKSkpKSkpKSkqKSwsKSwpLP/AABEIAJYBTwMBIgACEQEDEQH/xAAbAAACAwEBAQAAAAAAAAAAAAABBAADBQIGB//EAEQQAAEDAgMFBgMFBQcCBwAAAAEAAgMREwQSIQUxQVFhBhQicYGRUqGxFSMyM0IHYpLR8BYkQ4KiwcKy4RdTY3Jzg9L/xAAaAQADAQEBAQAAAAAAAAAAAAAAAQIDBAUG/8QAKREAAgIBAwQBAwUBAAAAAAAAAAECERIDITEEE0FRYTJCkSKBocHwFP/aAAwDAQACEQMRAD8A8eG6egUyK9rNB5I219RR4qZRlUyq+2pbSoLKMqmVX21LaKHZRlUyJi2pbSoLF8iORMW1MiKCxfIjkV+RG2igsoyKZExkUyIoVlGRHIrwxHIigsoyI5FdkRyIoLKLaORX5EcidCsoto5FfkUyIoLKMiORXZEcidBZRkRyK+2pkQFlGRHIrsiORAFGRHIrsiORAFGRHIr8imRAFGRHIr7amRAFIYpkV4YiGIAoyKZFfbRyIApDF0GK4MXVtKxi+RHIr8iORKwM5rNB5I5Ew2PQeQRtq7JQtkUyJm2pbSsYtbUtpm2jbRYC2RTImbaltFgL5FLaYto2kWAtkRyJm0pbSsBbIjbTNtS2gQvkREaYEaNtFgLCNG2mbaNtFgLW1BGmraltFgLW0baZto20WAtbUtpq2pbSsBa2jbTFtG2iwFraNtUHFGKa1IfDLV0LzwPGM+u49QtC2kpWNqha2pbTVtS2nYhbIjkTFtG2lYC1tS2mbaNtFjFraORMW0baLAWyI20zbUtosCgMRtpgRrq2lYxbIpkTNtG2iwM9seg8gjbTTYtB5BG0qszQpbRtpq0paSsoVtqW01aRtIsBQtpv0RtrA7TbOtyCUDwy7+knH3GvuudibatkRyH7s7j/AOWf/wA/RRnvTNu3atHobaNtNCNG0qsyFbaltNiJG0ixCltG2mrSNpFgKW0babtKCJFgK20bSbESlpFiFbaltN2kbKVgKW0babtI2kWApbRtpu0paRYCltG0mxEjZSsZlY/ZZmZla3NIDmiFCavpo2g3g7kezOyMZK63NCWNDC4TP8AFNzDvqf5L3ewdiCOksg8ZFWj4BzP730V+18TagOXR0ug5gHefZcM9e9Soc8WdkNOoXM8OYaGnI05hS0m7KNld1nGJ2kbSbso2UWAnaRESctKWkWAnaRtJy0paSsBO0iIk5ZRESLAVESNpNiJGylZQpaUtJyyjaSsDOZDoPIfRdWU4yHQeQ+i6sq7MVwI2VLKesqWErKEbKIhTthGylYzI2jswTRPiOmYeE/C4atd7rwuz9mGSZ2Hc63LUtYHDwukadWEjUdD06r6jZXku12zzBLHjWCoPgmG6tWloNRuq0lteYCx1lJxeHPg6enmlKpcC+zMdJhHDD4tpbGfy3nUM8iPxM8t3yXqRFxGoIqDvBB3EHiFg7EleX90fA12GcA6j3te6MBjWmlNM2ahIFCC/grftNmDkyMEj8GHGMyEFzIJt5jY/9QFdWnUE6cVy9P1jlPtyW9Xa3X90/j+To1+m2zibVlGym4QHtDmkOa4VaRqCOYTOF2e6R2Vgqd/IAcyV3uaW7PPSb2MyypZWniMAY3FjqVFNxqNVXZQpJ7oGmthGyjZT1lGyjIVCNlGynrSlpLIdCVlGynbSNpGQUJWEbCdtI2kZBQlZUsp20iIa7ksh0JCBbWx9jCglkAIP5ba1r++afJd7P2NcqZGm3uLSPx/u+S3GwHlQDQDQADdoOC49fX+2J16Gj90irLubz38g0cP9vded21LckoNzPCPPif65L0j8I/K6lA53M6AcN39alZw7Nu4vaPc68eSx0JRi8pM114yksYo87ZRsL0jOzfi1f4cooQPFmqaih0pSmtfRXt7Ox8S4+oH+y6n1MDmXTzPKWUbK9e3YUQ/ST5uKtGyoh/ht9q/VQ+rj6Za6WXtHi7Klle1bs6ICmRp37wCdSqp9kw0JLQwAVLgcoaOZroELq4+gfSy9nkLKllWP2hhzKY4p2SUIAo5tXGgNBQ67xqmLS3WopcGDg4umKWURCm7SIiVZCoVtKWk3aRtJZDoUtqCJN2lLaMgoSbHoPIfRG2rmt0HkPousirIyURe2jbV+RHIlkViL20bavyI5Esh4i9tU43Z7ZonxP1bI0tPTkR1BofRPZEbaMh0fOIY5BmwsTc2PAkjke2gfZZQMLQ5wDnOAYajUNGY7k52p7Qtw2GbsvDfpZkxDic5bU5nRVpq4kmp4bvLQ7ZYKSFzMfhh981roJKNzOyyNLWyAfEK0r1HJeLwvZTFzGrcPKa6lzhkBPOr6VXNHRhGTf7/74XhHoLUcoot7PdqH4Q5aXIXamMmlD8TDwPyK+pdme3uBewMuGCU/ibMMmY9HirSOWq8Jgf2UYuSmcxxDqTI72aKfNem2d+xdg1nxDzzaxrWfM5lWrPTkqb/Aoxp2kbkz7jnP+I1HEU4U9FxbWrsTsThsJ+UJHc88r3N88lQz5LabAwbmtHoFm+pitkjP/nb5Z5NmHJ3AnyBKuZsyQ7o3e1PqvVVUzKH1T8IpdMvLPNM2JIf008yArm9n38S0epP+y3symdQ+omUungYzeznN49G/91c3s8zi5x9gtJ0gG/Tz0Vfem5izMM4AcWVGcNJoHFu+lQRXopetN+SlowXgWbsOIcCfN38la3ZkQ/QPWp+pS83aCBsBxJmjsA0MwcHR1z26ZhX9WnmupNtRNxDMKX0nfE+ZrKHWNjg1zq0pvO6tVL1JPyy8IrwhtuGYNzGj/KFYOixY+08bzjWsD3OwBLZm5aFzrV0BmviqNBu1SzO1zXM2fI2KQs2g5oB44fNEZAZBryop3ZXBr7W2s3DRGWQEgGlAWAnQnTO5o3A6VqkcJ2iuTWmsLw978p8LLUTIoHOe+rqu1nG4A8KaVOXtLEHFOxkMmGf/AHNodhX3HxtxbpcM8OZmZTTUsIqfxcFTA+VsWAmhw0cc8kkXfmOJzQwyMZfyFzt4MUXM+Eab1axrjch5Xyau0+1BinMLGMkIbIPxlhvNw7pxGSW5ACA39VRnB88v+2LibhljbG7CxvY0RkG7Ji3QGQ53ijWltCa0AIPEVYZE443EySRwOw74IRE+2wz3AHNka8kVc2h46U05pQYbFnZzMOcUGYxrh/eWCjcjZ8wbRoFAYwGkABUpRS4JabfJ3hO0mKfbkylzRYD42wkOlztxJcQ4nwH7qPyLtd9Fq9mMZM+OV2IuD7wGIyNtutmGNx3sYSM5eNWjclcTGXYyLFCZ4bHDNC6D/DkzuBDzrvFOR4JP7JjybQjc97mbRe98jSfy88QjcGH0rr0SlK/FDSryemx2PLGgsaHuc4NaC7I2pBNXOoaCgPA8Eg7b7mMe+Zgo1sTm2XGbMHuc2mrW6gs+aznPEWGjiY51MOyINcdX5YgBm6uygqYecROY1ri4EStB03l5laNOABeB0AUpDk206dMQ7aduJcPg4Z8M0MfNM6KkrauAA3htaVPqsF0ON2phGmUSXYnga/cxTxyVIOU0bnYRQni1w4jX2cuMBIJAJaatJAJBpSoPArk7QPNUtt0Srqm7MLYP7MwA04yRj3NNWNjbqOjpNKiu+gHnXVe6Gzo8jWAUDQA2m9oA0APLzWCNqOBG6mtddelFfHtvr6obldjWNUXYnZ5Zrvbz/mqbSYdt9mU5jpxXTW1APMVXTp6ja3ObUgk9ha0paTVtG2tMjOhS0jaTVtG2lkFGS1ug8gusqqEo5hDvA6LLJmyii7KpRUjED+irWTDnT1SyaKUUzqiNFG1IqBUc/wBPvuXHe2DQvBPJlZD/AKdB7pZlKCLPRJbYdMIicM1rpPhc7JUUP4TurWm+nmrn7SA3RnzkdkHswOPzCpdtFx/xGxjlHGK/xPzfQIuT4TCor0Z3ZPaGIc6XvGHkja0DL4NHPzeLxV10prWnVbsnaWCL8x7Wu+EuaXeWVtSVnujY78zNL/8AI972/wAJOX5JfE7Lw7zUxNa74mVjP+mgPqo7bLzR6bZnaFkwJaHAA6ZmlhcOYB1p6LQGNHNeGGAcz8qYtHBr2tePcZSgcRimcI5R+6/K72fQfNS9Nhmeo2ftFxko+UP0OZmVrRG45SACDU6Zxr8Koj7SzOigkGFe18mLsTROdR0MN17DiN3iFGtd5OXlJO0MkYNyGRlHZgchIO+ozNqKau48ei5b2nicfx68i930ropxHmerxe2cVbxlqGMSxSNbg87vBiI8rCXu1GU6yDhqArZsfOcRKGuYMMcLSJ2+RuLzu1I4ty5T6LzA7QCmjhTzQO3R8Q90Yhmb2CmxIdgnzTtNrDvZjWNHhnnLWZZWmgpQh3Afi3JfDYORrMEH4uWR2Emlke81/vLH3AI5PFqGh7dTX8Ptiu28PiHunMDjLgrmAHuU8RZjc+xYn4fGYaR8j4sbPJO+rvFG55Y7LGaaAFgIrXenGxxjEnFgG+6BuHLqmhia/OBTdWvFcRQN4kn5J6HCNP6ajnVKkO2Zsez4G4c4QRNOHc5zjEauYS6S4d5r+LVNPlaXtkLQZGtcxr6DO1jiC5odvANBp0T9lg4AnoFxJRoJOVg3knh/XolaHTEu9HWg1Op01PCp5rl2Ld1+azdqdtMLDpeMr92WPxa+mnzVOB7QPnNWwFjC3QvcGurz0qacNydio0jjeq4OM6ozbQa1gzkVpqeHzXn8VtcSEtgY6V3/AKYJA8yNB6pks3HY3qqX7RoszBbExMhrLI2Fnwj72X1oQ0e5WgOyjT+KeU+WRv8AxKqmBU/awHFVO20Oac/sVhz+J8zvOQD6NCub2IwdQTG5xHxTSkewcAgMWZB26N9QlX7bjFNWgNIIFdARqPZepZ2UwYNe7xnSlHZnjzo4nVNRbJwzPw4eAeUcf8kDxPDv7UM+MehUZtl7/wAuOV9d2WN7q+wX0GGONhLmMa0uoCWgCoFabvMq/vIQGPyeBhw2Mk/Dh3tB4yFsQ9nGvyWhhuyeJdS5NHEOTM0rh/0heuGJCPeQgeK9mdszs3FDR1XSvH65DWh/daNB7V6rUyLjvIU7yFWTJwiWW0bap70OanehzRkxYRLraNtLHFDmh31VchYRPOVZw+q5LxzHusbOpcPNbdv5Me58GyHHp6UVzHHmG/I+6wRKeaBk6o7VjWp8HoHStJ8TwTzPiI8iV3QH9VfZeczqCbql2fTH3vg3Z3gcapN0vRZ9/qhf6q46dEynZpMmXd08KLLGIXYxKbiJSNITO5/RQyniarNdiygMUUsB5GlVVSwtd+JrXcPEGu09QlxiyrmPr/2Saoa3F37EgdvhZXo3L/00Vf8AZiA/4R9HyD/ktrDbKe/c005nQJ37GZE3PPK1jRqS5wYwebiVlKcEWoSZ5kdlcPXWAnoXyn/ktLDdlY6UjhEXVpcx3ydVMf2tww8OFikxTt1WNywg9Zn0aR/7SUZdrzyfrbCPhjFXeVxw+jQs7b4RWKXLGoNmNwzC+aajBxlc1jG+tB80j/4gYLPbZKZaVq9jTaHTNx9Krx/aDsG7FPMoxUheTUNmLpmDo01BaPdefl7MPwQDp8RACT4I2Nc98mtN7y0AV3nh13LNxd7mia8H1KXtFeo2AzAOrQxwB27f43OIHqEpiuwzsVrO7HOB4Olga3+DIAm+w2MEeEbV2ZznPJdvDTmoGim5um7qvQxbWNPHkB4ZCaex3KaGeCxX7Oo8GHTPxNmJjC9znsYXN14ua6lPStdBVV9mXYfHZ2wYuV7o9XMpZJFfxAZalteqz/207aMmHELSad5juD90ROLK9K6+YCwP2N4c97fJ+ljADyOY0I9q+yadOgxT3PqLOysY1Ia483kyH/USn2bOoKBwAG4AUATYc3oiCDyVdxh2oiwwB+JE4F3AhMmIf0VBAn3GPtoz5InjhXyVJlcOBWsYCqJoedfmrjqIzlp+jOOKKHeyrH4clD7PPNbZRMcZHHeyj3orr7PK6+z3ck8oCxmV95K67yUe6OHBHuruSMoixkDvBRvFdDDO5LoQHkUskVjI4ulS4rBF0K7EaMkGLKao0KZEa6EKnuFdtngXSKZ039n8aqDADmVtmjDtsUzI1KZODHNDuw5p5oMGL1Uqu3MohlTyFQtFivGY3jK/Ut4iRvxNPHqN48tUwq8VhhI3K7gQ5rho5jhuc08ClJNtWHhk4IaQMs1KseeNabijIrGx9Gqf2RG3E6xvY4DUuD2BrfMkrQl2Th4z99iBUb2R+J3yr9Fm9VJ0y1pPkwMyewmx5ZaZWEA8XeEfzPonztSGH8jD5j8cpH0FT8wk8T2gnfX7zIDvbGLY9SPF80s5P6V+QxiuWPybCiw7Q/GYhkTerhGPdyrg7X4Npy4OJ+JI3yhpZAP/ALZN/wDlDl52TCRvdcfGx7/jc0Of/E7VX1UduUvqZWaX0o2cV2pnfo0iIcmCrv4nV+QCzHPzOzPJe74nEvd7uqqao1WqhFcIhyk+Rq+ea6biik6o1TpCtj4xPVDEZJW5JWMkad7XtDx7EJIORDknFDyYvBss4ZhbhXEtzl4ie6obWlQx1K8Nxr5qP2pi9PuT1o5hB8jm0TQeuxIs3pIpTZ5za3Z/EYt+dzY48zQyRsjszZGjUaR6gjmDwC9F2c2OzBR5GAVOriAaV/zEn5qwS9V1n6pLSSKzZpDGLtuNKyri6E6rBCyZsDaBVrcesRuLVjcUocClNm0McUe9u5rHGKKIxJ5qcCs2axxB5qDElZYxR5rpuI6oxDI1Ri10MaswT9ULw5qcUVkzUGLXYxKyro5ojEDmjFBkzYGIXQlWU3F9V2MaocS1I1LgUuBZvekDieqMR5GpnCBcFmjFdUe9jmigs8gzbZJPhb7J7DbbPwtHokIY4uIKdiEPIrWVejKN+zWi24DvDf4QnYMQx/6AfQLDjijrpVaOHY0ag6+awkl4N4t+TSEbOIoqzhmV0AI6tCWdiadVV34hZ7l7Gzhtnx/CPYBdYnZLCDoKclmxbTPNMsx5PFS8rK/Sed2j2ehz1bA0OrvyNJ860SrsM/cGuoOmi9a/E1SuJ2i2MVcadFtHWlxyYy0l7PMuwzhvaVRI6h3U+ae2h2hz6NGnNY78QCV1Rk3yc0klwMd56D2VjMSB+lp90gZQhUKiTR7w3XQDpqu48UziwH1os0ELsUSGh++w/pPoQjWM7s3ySNwItIpv1SGaEeHYdS6gKL8Mz9MlfTWqy3SFV3yOKe/sP0+jSfFTca+hVd2m9ItxjhuJCL9ok7/F5p7i2HDiDwQ70Vnun9FxdKolmn3pTvCzLygxCYjSvqd46rPGIXV9FhQ8cSeajcSkhMOKsEwPD2RY6HhMUTi3BI1HMhTITx+qmx0O/aRXJ2iUk6Io2j0RsG419oFQY8pduGrxXYwJ4EFO0FMvGOK7GNPNJOhcN4P1QA6pbBuaAxp5o98PNIBFGwx7vhQ76UmCjVIYsG9VY1RRZlIvilKchxBUUUstDXelwZKqKKKLsLJk0zFFRRS0UmDEbQLQsLFTFxJKiiuCSImxNx6VVRI6qKLZGAMo6o5EFEwDuQMpUUQBW6QqCQoKJknQkK6DjzRUQAc56FVuk6BRRNADP0CIPQKKJiAooogAKVUUTEHMpnUUSGS6URMVFEAdjEnmuxijyUUQFkEy7bMUVEhljcSeZXbZgd/+yiikqwOI4VC5qoogAhTMoom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4" descr="data:image/jpeg;base64,/9j/4AAQSkZJRgABAQAAAQABAAD/2wCEAAkGBhQQDw8PEBIUEBAPDw8PDxAUFRUQDw8PFBAVFBQQFBQXHCYeFxkkGRQUHy8gIycpLCwsFR8xNTArNSYrLCkBCQoKDgwOFA8PGikcHBwsKSwpLCksKSkpKSkpLCwsKSwsKSksKSkpKSksKSkpKSkpKSkpKSkpKSkqKSwsKSwpLP/AABEIAJYBTwMBIgACEQEDEQH/xAAbAAACAwEBAQAAAAAAAAAAAAABBAADBQIGB//EAEQQAAEDAgMFBgMFBQcCBwAAAAEAAgMREwQSIQUxQVFhBhQicYGRUqGxFSMyM0IHYpLR8BYkQ4KiwcKy4RdTY3Jzg9L/xAAaAQADAQEBAQAAAAAAAAAAAAAAAQIDBAUG/8QAKREAAgIBAwQBAwUBAAAAAAAAAAECERIDITEEE0FRYTJCkSKBocHwFP/aAAwDAQACEQMRAD8A8eG6egUyK9rNB5I219RR4qZRlUyq+2pbSoLKMqmVX21LaKHZRlUyJi2pbSoLF8iORMW1MiKCxfIjkV+RG2igsoyKZExkUyIoVlGRHIrwxHIigsoyI5FdkRyIoLKLaORX5EcidCsoto5FfkUyIoLKMiORXZEcidBZRkRyK+2pkQFlGRHIrsiORAFGRHIrsiORAFGRHIr8imRAFGRHIr7amRAFIYpkV4YiGIAoyKZFfbRyIApDF0GK4MXVtKxi+RHIr8iORKwM5rNB5I5Ew2PQeQRtq7JQtkUyJm2pbSsYtbUtpm2jbRYC2RTImbaltFgL5FLaYto2kWAtkRyJm0pbSsBbIjbTNtS2gQvkREaYEaNtFgLCNG2mbaNtFgLW1BGmraltFgLW0baZto20WAtbUtpq2pbSsBa2jbTFtG2iwFraNtUHFGKa1IfDLV0LzwPGM+u49QtC2kpWNqha2pbTVtS2nYhbIjkTFtG2lYC1tS2mbaNtFjFraORMW0baLAWyI20zbUtosCgMRtpgRrq2lYxbIpkTNtG2iwM9seg8gjbTTYtB5BG0qszQpbRtpq0paSsoVtqW01aRtIsBQtpv0RtrA7TbOtyCUDwy7+knH3GvuudibatkRyH7s7j/AOWf/wA/RRnvTNu3atHobaNtNCNG0qsyFbaltNiJG0ixCltG2mrSNpFgKW0babtKCJFgK20bSbESlpFiFbaltN2kbKVgKW0babtI2kWApbRtpu0paRYCltG0mxEjZSsZlY/ZZmZla3NIDmiFCavpo2g3g7kezOyMZK63NCWNDC4TP8AFNzDvqf5L3ewdiCOksg8ZFWj4BzP730V+18TagOXR0ug5gHefZcM9e9Soc8WdkNOoXM8OYaGnI05hS0m7KNld1nGJ2kbSbso2UWAnaRESctKWkWAnaRtJy0paSsBO0iIk5ZRESLAVESNpNiJGylZQpaUtJyyjaSsDOZDoPIfRdWU4yHQeQ+i6sq7MVwI2VLKesqWErKEbKIhTthGylYzI2jswTRPiOmYeE/C4atd7rwuz9mGSZ2Hc63LUtYHDwukadWEjUdD06r6jZXku12zzBLHjWCoPgmG6tWloNRuq0lteYCx1lJxeHPg6enmlKpcC+zMdJhHDD4tpbGfy3nUM8iPxM8t3yXqRFxGoIqDvBB3EHiFg7EleX90fA12GcA6j3te6MBjWmlNM2ahIFCC/grftNmDkyMEj8GHGMyEFzIJt5jY/9QFdWnUE6cVy9P1jlPtyW9Xa3X90/j+To1+m2zibVlGym4QHtDmkOa4VaRqCOYTOF2e6R2Vgqd/IAcyV3uaW7PPSb2MyypZWniMAY3FjqVFNxqNVXZQpJ7oGmthGyjZT1lGyjIVCNlGynrSlpLIdCVlGynbSNpGQUJWEbCdtI2kZBQlZUsp20iIa7ksh0JCBbWx9jCglkAIP5ba1r++afJd7P2NcqZGm3uLSPx/u+S3GwHlQDQDQADdoOC49fX+2J16Gj90irLubz38g0cP9vded21LckoNzPCPPif65L0j8I/K6lA53M6AcN39alZw7Nu4vaPc68eSx0JRi8pM114yksYo87ZRsL0jOzfi1f4cooQPFmqaih0pSmtfRXt7Ox8S4+oH+y6n1MDmXTzPKWUbK9e3YUQ/ST5uKtGyoh/ht9q/VQ+rj6Za6WXtHi7Klle1bs6ICmRp37wCdSqp9kw0JLQwAVLgcoaOZroELq4+gfSy9nkLKllWP2hhzKY4p2SUIAo5tXGgNBQ67xqmLS3WopcGDg4umKWURCm7SIiVZCoVtKWk3aRtJZDoUtqCJN2lLaMgoSbHoPIfRG2rmt0HkPousirIyURe2jbV+RHIlkViL20bavyI5Esh4i9tU43Z7ZonxP1bI0tPTkR1BofRPZEbaMh0fOIY5BmwsTc2PAkjke2gfZZQMLQ5wDnOAYajUNGY7k52p7Qtw2GbsvDfpZkxDic5bU5nRVpq4kmp4bvLQ7ZYKSFzMfhh981roJKNzOyyNLWyAfEK0r1HJeLwvZTFzGrcPKa6lzhkBPOr6VXNHRhGTf7/74XhHoLUcoot7PdqH4Q5aXIXamMmlD8TDwPyK+pdme3uBewMuGCU/ibMMmY9HirSOWq8Jgf2UYuSmcxxDqTI72aKfNem2d+xdg1nxDzzaxrWfM5lWrPTkqb/Aoxp2kbkz7jnP+I1HEU4U9FxbWrsTsThsJ+UJHc88r3N88lQz5LabAwbmtHoFm+pitkjP/nb5Z5NmHJ3AnyBKuZsyQ7o3e1PqvVVUzKH1T8IpdMvLPNM2JIf008yArm9n38S0epP+y3symdQ+omUungYzeznN49G/91c3s8zi5x9gtJ0gG/Tz0Vfem5izMM4AcWVGcNJoHFu+lQRXopetN+SlowXgWbsOIcCfN38la3ZkQ/QPWp+pS83aCBsBxJmjsA0MwcHR1z26ZhX9WnmupNtRNxDMKX0nfE+ZrKHWNjg1zq0pvO6tVL1JPyy8IrwhtuGYNzGj/KFYOixY+08bzjWsD3OwBLZm5aFzrV0BmviqNBu1SzO1zXM2fI2KQs2g5oB44fNEZAZBryop3ZXBr7W2s3DRGWQEgGlAWAnQnTO5o3A6VqkcJ2iuTWmsLw978p8LLUTIoHOe+rqu1nG4A8KaVOXtLEHFOxkMmGf/AHNodhX3HxtxbpcM8OZmZTTUsIqfxcFTA+VsWAmhw0cc8kkXfmOJzQwyMZfyFzt4MUXM+Eab1axrjch5Xyau0+1BinMLGMkIbIPxlhvNw7pxGSW5ACA39VRnB88v+2LibhljbG7CxvY0RkG7Ji3QGQ53ijWltCa0AIPEVYZE443EySRwOw74IRE+2wz3AHNka8kVc2h46U05pQYbFnZzMOcUGYxrh/eWCjcjZ8wbRoFAYwGkABUpRS4JabfJ3hO0mKfbkylzRYD42wkOlztxJcQ4nwH7qPyLtd9Fq9mMZM+OV2IuD7wGIyNtutmGNx3sYSM5eNWjclcTGXYyLFCZ4bHDNC6D/DkzuBDzrvFOR4JP7JjybQjc97mbRe98jSfy88QjcGH0rr0SlK/FDSryemx2PLGgsaHuc4NaC7I2pBNXOoaCgPA8Eg7b7mMe+Zgo1sTm2XGbMHuc2mrW6gs+aznPEWGjiY51MOyINcdX5YgBm6uygqYecROY1ri4EStB03l5laNOABeB0AUpDk206dMQ7aduJcPg4Z8M0MfNM6KkrauAA3htaVPqsF0ON2phGmUSXYnga/cxTxyVIOU0bnYRQni1w4jX2cuMBIJAJaatJAJBpSoPArk7QPNUtt0Srqm7MLYP7MwA04yRj3NNWNjbqOjpNKiu+gHnXVe6Gzo8jWAUDQA2m9oA0APLzWCNqOBG6mtddelFfHtvr6obldjWNUXYnZ5Zrvbz/mqbSYdt9mU5jpxXTW1APMVXTp6ja3ObUgk9ha0paTVtG2tMjOhS0jaTVtG2lkFGS1ug8gusqqEo5hDvA6LLJmyii7KpRUjED+irWTDnT1SyaKUUzqiNFG1IqBUc/wBPvuXHe2DQvBPJlZD/AKdB7pZlKCLPRJbYdMIicM1rpPhc7JUUP4TurWm+nmrn7SA3RnzkdkHswOPzCpdtFx/xGxjlHGK/xPzfQIuT4TCor0Z3ZPaGIc6XvGHkja0DL4NHPzeLxV10prWnVbsnaWCL8x7Wu+EuaXeWVtSVnujY78zNL/8AI972/wAJOX5JfE7Lw7zUxNa74mVjP+mgPqo7bLzR6bZnaFkwJaHAA6ZmlhcOYB1p6LQGNHNeGGAcz8qYtHBr2tePcZSgcRimcI5R+6/K72fQfNS9Nhmeo2ftFxko+UP0OZmVrRG45SACDU6Zxr8Koj7SzOigkGFe18mLsTROdR0MN17DiN3iFGtd5OXlJO0MkYNyGRlHZgchIO+ozNqKau48ei5b2nicfx68i930ropxHmerxe2cVbxlqGMSxSNbg87vBiI8rCXu1GU6yDhqArZsfOcRKGuYMMcLSJ2+RuLzu1I4ty5T6LzA7QCmjhTzQO3R8Q90Yhmb2CmxIdgnzTtNrDvZjWNHhnnLWZZWmgpQh3Afi3JfDYORrMEH4uWR2Emlke81/vLH3AI5PFqGh7dTX8Ptiu28PiHunMDjLgrmAHuU8RZjc+xYn4fGYaR8j4sbPJO+rvFG55Y7LGaaAFgIrXenGxxjEnFgG+6BuHLqmhia/OBTdWvFcRQN4kn5J6HCNP6ajnVKkO2Zsez4G4c4QRNOHc5zjEauYS6S4d5r+LVNPlaXtkLQZGtcxr6DO1jiC5odvANBp0T9lg4AnoFxJRoJOVg3knh/XolaHTEu9HWg1Op01PCp5rl2Ld1+azdqdtMLDpeMr92WPxa+mnzVOB7QPnNWwFjC3QvcGurz0qacNydio0jjeq4OM6ozbQa1gzkVpqeHzXn8VtcSEtgY6V3/AKYJA8yNB6pks3HY3qqX7RoszBbExMhrLI2Fnwj72X1oQ0e5WgOyjT+KeU+WRv8AxKqmBU/awHFVO20Oac/sVhz+J8zvOQD6NCub2IwdQTG5xHxTSkewcAgMWZB26N9QlX7bjFNWgNIIFdARqPZepZ2UwYNe7xnSlHZnjzo4nVNRbJwzPw4eAeUcf8kDxPDv7UM+MehUZtl7/wAuOV9d2WN7q+wX0GGONhLmMa0uoCWgCoFabvMq/vIQGPyeBhw2Mk/Dh3tB4yFsQ9nGvyWhhuyeJdS5NHEOTM0rh/0heuGJCPeQgeK9mdszs3FDR1XSvH65DWh/daNB7V6rUyLjvIU7yFWTJwiWW0bap70OanehzRkxYRLraNtLHFDmh31VchYRPOVZw+q5LxzHusbOpcPNbdv5Me58GyHHp6UVzHHmG/I+6wRKeaBk6o7VjWp8HoHStJ8TwTzPiI8iV3QH9VfZeczqCbql2fTH3vg3Z3gcapN0vRZ9/qhf6q46dEynZpMmXd08KLLGIXYxKbiJSNITO5/RQyniarNdiygMUUsB5GlVVSwtd+JrXcPEGu09QlxiyrmPr/2Saoa3F37EgdvhZXo3L/00Vf8AZiA/4R9HyD/ktrDbKe/c005nQJ37GZE3PPK1jRqS5wYwebiVlKcEWoSZ5kdlcPXWAnoXyn/ktLDdlY6UjhEXVpcx3ydVMf2tww8OFikxTt1WNywg9Zn0aR/7SUZdrzyfrbCPhjFXeVxw+jQs7b4RWKXLGoNmNwzC+aajBxlc1jG+tB80j/4gYLPbZKZaVq9jTaHTNx9Krx/aDsG7FPMoxUheTUNmLpmDo01BaPdefl7MPwQDp8RACT4I2Nc98mtN7y0AV3nh13LNxd7mia8H1KXtFeo2AzAOrQxwB27f43OIHqEpiuwzsVrO7HOB4Olga3+DIAm+w2MEeEbV2ZznPJdvDTmoGim5um7qvQxbWNPHkB4ZCaex3KaGeCxX7Oo8GHTPxNmJjC9znsYXN14ua6lPStdBVV9mXYfHZ2wYuV7o9XMpZJFfxAZalteqz/207aMmHELSad5juD90ROLK9K6+YCwP2N4c97fJ+ljADyOY0I9q+yadOgxT3PqLOysY1Ia483kyH/USn2bOoKBwAG4AUATYc3oiCDyVdxh2oiwwB+JE4F3AhMmIf0VBAn3GPtoz5InjhXyVJlcOBWsYCqJoedfmrjqIzlp+jOOKKHeyrH4clD7PPNbZRMcZHHeyj3orr7PK6+z3ck8oCxmV95K67yUe6OHBHuruSMoixkDvBRvFdDDO5LoQHkUskVjI4ulS4rBF0K7EaMkGLKao0KZEa6EKnuFdtngXSKZ039n8aqDADmVtmjDtsUzI1KZODHNDuw5p5oMGL1Uqu3MohlTyFQtFivGY3jK/Ut4iRvxNPHqN48tUwq8VhhI3K7gQ5rho5jhuc08ClJNtWHhk4IaQMs1KseeNabijIrGx9Gqf2RG3E6xvY4DUuD2BrfMkrQl2Th4z99iBUb2R+J3yr9Fm9VJ0y1pPkwMyewmx5ZaZWEA8XeEfzPonztSGH8jD5j8cpH0FT8wk8T2gnfX7zIDvbGLY9SPF80s5P6V+QxiuWPybCiw7Q/GYhkTerhGPdyrg7X4Npy4OJ+JI3yhpZAP/ALZN/wDlDl52TCRvdcfGx7/jc0Of/E7VX1UduUvqZWaX0o2cV2pnfo0iIcmCrv4nV+QCzHPzOzPJe74nEvd7uqqao1WqhFcIhyk+Rq+ea6biik6o1TpCtj4xPVDEZJW5JWMkad7XtDx7EJIORDknFDyYvBss4ZhbhXEtzl4ie6obWlQx1K8Nxr5qP2pi9PuT1o5hB8jm0TQeuxIs3pIpTZ5za3Z/EYt+dzY48zQyRsjszZGjUaR6gjmDwC9F2c2OzBR5GAVOriAaV/zEn5qwS9V1n6pLSSKzZpDGLtuNKyri6E6rBCyZsDaBVrcesRuLVjcUocClNm0McUe9u5rHGKKIxJ5qcCs2axxB5qDElZYxR5rpuI6oxDI1Ri10MaswT9ULw5qcUVkzUGLXYxKyro5ojEDmjFBkzYGIXQlWU3F9V2MaocS1I1LgUuBZvekDieqMR5GpnCBcFmjFdUe9jmigs8gzbZJPhb7J7DbbPwtHokIY4uIKdiEPIrWVejKN+zWi24DvDf4QnYMQx/6AfQLDjijrpVaOHY0ag6+awkl4N4t+TSEbOIoqzhmV0AI6tCWdiadVV34hZ7l7Gzhtnx/CPYBdYnZLCDoKclmxbTPNMsx5PFS8rK/Sed2j2ehz1bA0OrvyNJ860SrsM/cGuoOmi9a/E1SuJ2i2MVcadFtHWlxyYy0l7PMuwzhvaVRI6h3U+ae2h2hz6NGnNY78QCV1Rk3yc0klwMd56D2VjMSB+lp90gZQhUKiTR7w3XQDpqu48UziwH1os0ELsUSGh++w/pPoQjWM7s3ySNwItIpv1SGaEeHYdS6gKL8Mz9MlfTWqy3SFV3yOKe/sP0+jSfFTca+hVd2m9ItxjhuJCL9ok7/F5p7i2HDiDwQ70Vnun9FxdKolmn3pTvCzLygxCYjSvqd46rPGIXV9FhQ8cSeajcSkhMOKsEwPD2RY6HhMUTi3BI1HMhTITx+qmx0O/aRXJ2iUk6Io2j0RsG419oFQY8pduGrxXYwJ4EFO0FMvGOK7GNPNJOhcN4P1QA6pbBuaAxp5o98PNIBFGwx7vhQ76UmCjVIYsG9VY1RRZlIvilKchxBUUUstDXelwZKqKKKLsLJk0zFFRRS0UmDEbQLQsLFTFxJKiiuCSImxNx6VVRI6qKLZGAMo6o5EFEwDuQMpUUQBW6QqCQoKJknQkK6DjzRUQAc56FVuk6BRRNADP0CIPQKKJiAooogAKVUUTEHMpnUUSGS6URMVFEAdjEnmuxijyUUQFkEy7bMUVEhljcSeZXbZgd/+yiikqwOI4VC5qoogAhTMoomB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6390" name="Picture 6" descr="http://dknews.kz/wp-content/uploads/2012/05/embra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954849" y="675669"/>
            <a:ext cx="2857499" cy="128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138477" y="4365104"/>
            <a:ext cx="1150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Impact" pitchFamily="34" charset="0"/>
              </a:rPr>
              <a:t>2,8 млн.</a:t>
            </a:r>
            <a:endParaRPr lang="ru-RU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29781" y="4270156"/>
            <a:ext cx="1150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Impact" pitchFamily="34" charset="0"/>
              </a:rPr>
              <a:t>3,2 млн.</a:t>
            </a:r>
            <a:endParaRPr lang="ru-RU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517317" y="4005064"/>
            <a:ext cx="11509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6600"/>
                </a:solidFill>
                <a:latin typeface="Impact" pitchFamily="34" charset="0"/>
              </a:rPr>
              <a:t>3,6 млн.</a:t>
            </a:r>
            <a:endParaRPr lang="ru-RU" dirty="0">
              <a:solidFill>
                <a:srgbClr val="006600"/>
              </a:solidFill>
              <a:latin typeface="Impact" pitchFamily="34" charset="0"/>
            </a:endParaRPr>
          </a:p>
        </p:txBody>
      </p:sp>
      <p:sp>
        <p:nvSpPr>
          <p:cNvPr id="15" name=" 3"/>
          <p:cNvSpPr/>
          <p:nvPr/>
        </p:nvSpPr>
        <p:spPr>
          <a:xfrm rot="21062046">
            <a:off x="3039532" y="5165873"/>
            <a:ext cx="1436687" cy="592138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6" name=" 3"/>
          <p:cNvSpPr/>
          <p:nvPr/>
        </p:nvSpPr>
        <p:spPr>
          <a:xfrm rot="21062046">
            <a:off x="5271029" y="4905486"/>
            <a:ext cx="1436687" cy="592138"/>
          </a:xfrm>
          <a:prstGeom prst="swooshArrow">
            <a:avLst>
              <a:gd name="adj1" fmla="val 16310"/>
              <a:gd name="adj2" fmla="val 31370"/>
            </a:avLst>
          </a:prstGeom>
          <a:solidFill>
            <a:srgbClr val="008000"/>
          </a:solidFill>
          <a:ln>
            <a:solidFill>
              <a:srgbClr val="008000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TextBox 43"/>
          <p:cNvSpPr txBox="1">
            <a:spLocks noChangeArrowheads="1"/>
          </p:cNvSpPr>
          <p:nvPr/>
        </p:nvSpPr>
        <p:spPr bwMode="auto">
          <a:xfrm rot="19896665">
            <a:off x="3405293" y="4947852"/>
            <a:ext cx="7270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b="1" dirty="0" smtClean="0">
                <a:solidFill>
                  <a:srgbClr val="008000"/>
                </a:solidFill>
                <a:latin typeface="Calibri" pitchFamily="34" charset="0"/>
              </a:rPr>
              <a:t>14%</a:t>
            </a:r>
            <a:endParaRPr lang="ru-RU" altLang="ru-RU" b="1" dirty="0">
              <a:solidFill>
                <a:srgbClr val="008000"/>
              </a:solidFill>
              <a:latin typeface="Calibri" pitchFamily="34" charset="0"/>
            </a:endParaRPr>
          </a:p>
        </p:txBody>
      </p:sp>
      <p:sp>
        <p:nvSpPr>
          <p:cNvPr id="18" name="TextBox 43"/>
          <p:cNvSpPr txBox="1">
            <a:spLocks noChangeArrowheads="1"/>
          </p:cNvSpPr>
          <p:nvPr/>
        </p:nvSpPr>
        <p:spPr bwMode="auto">
          <a:xfrm rot="19896665">
            <a:off x="5567552" y="4660894"/>
            <a:ext cx="930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b="1" dirty="0" smtClean="0">
                <a:solidFill>
                  <a:srgbClr val="008000"/>
                </a:solidFill>
                <a:latin typeface="Calibri" pitchFamily="34" charset="0"/>
              </a:rPr>
              <a:t>12,5%</a:t>
            </a:r>
            <a:endParaRPr lang="ru-RU" altLang="ru-RU" b="1" dirty="0">
              <a:solidFill>
                <a:srgbClr val="008000"/>
              </a:solidFill>
              <a:latin typeface="Calibri" pitchFamily="34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-25400" y="62202"/>
            <a:ext cx="4139952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ru-RU" sz="2000" dirty="0" smtClean="0">
                <a:latin typeface="Impact" pitchFamily="34" charset="0"/>
              </a:rPr>
              <a:t>“Air Astana” air company</a:t>
            </a:r>
            <a:endParaRPr lang="ru-RU" altLang="ru-RU" sz="2000" dirty="0">
              <a:latin typeface="Impact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861855942"/>
              </p:ext>
            </p:extLst>
          </p:nvPr>
        </p:nvGraphicFramePr>
        <p:xfrm>
          <a:off x="913184" y="3501008"/>
          <a:ext cx="7272808" cy="3428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Овал 20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9</a:t>
            </a:r>
            <a:endParaRPr lang="ru-RU" sz="1400" dirty="0"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7296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ятиугольник 30"/>
          <p:cNvSpPr/>
          <p:nvPr/>
        </p:nvSpPr>
        <p:spPr>
          <a:xfrm>
            <a:off x="0" y="94860"/>
            <a:ext cx="2699792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latin typeface="Impact" pitchFamily="34" charset="0"/>
              </a:rPr>
              <a:t>Water transport</a:t>
            </a:r>
            <a:endParaRPr lang="ru-RU" sz="2000" dirty="0">
              <a:latin typeface="Impact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1588" y="1124744"/>
            <a:ext cx="9323387" cy="5251286"/>
            <a:chOff x="1588" y="1124744"/>
            <a:chExt cx="9323387" cy="5251286"/>
          </a:xfrm>
        </p:grpSpPr>
        <p:pic>
          <p:nvPicPr>
            <p:cNvPr id="1026" name="Picture 2" descr="http://silkadv.com/sites/default/files/Kazahstan/Goroda/Aktau/Morskoi_port/0_0_Vid_na-port_s_morya.jp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8" y="1124744"/>
              <a:ext cx="9142412" cy="433655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Рисунок 18" descr="Рисунок1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838272" y="4108265"/>
              <a:ext cx="1584176" cy="1104016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33" name="Прямоугольник 25"/>
            <p:cNvSpPr>
              <a:spLocks noChangeArrowheads="1"/>
            </p:cNvSpPr>
            <p:nvPr/>
          </p:nvSpPr>
          <p:spPr bwMode="auto">
            <a:xfrm>
              <a:off x="5679416" y="4464408"/>
              <a:ext cx="3456384" cy="794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8900" indent="-88900" defTabSz="984250">
                <a:lnSpc>
                  <a:spcPct val="120000"/>
                </a:lnSpc>
              </a:pPr>
              <a:r>
                <a:rPr lang="en-US" sz="1600" dirty="0" smtClean="0">
                  <a:latin typeface="Impact" pitchFamily="34" charset="0"/>
                  <a:cs typeface="Arial" pitchFamily="34" charset="0"/>
                </a:rPr>
                <a:t>Period of realization</a:t>
              </a:r>
              <a:r>
                <a:rPr lang="ru-RU" sz="1600" dirty="0" smtClean="0">
                  <a:latin typeface="Impact" pitchFamily="34" charset="0"/>
                  <a:cs typeface="Arial" pitchFamily="34" charset="0"/>
                </a:rPr>
                <a:t>: </a:t>
              </a:r>
              <a:r>
                <a:rPr lang="ru-RU" sz="20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2014-2020 </a:t>
              </a:r>
              <a:endParaRPr lang="ru-RU" sz="2000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  <a:p>
              <a:pPr marL="88900" indent="-88900" defTabSz="984250">
                <a:lnSpc>
                  <a:spcPct val="120000"/>
                </a:lnSpc>
              </a:pPr>
              <a:r>
                <a:rPr lang="en-US" sz="1600" dirty="0" smtClean="0">
                  <a:latin typeface="Impact" pitchFamily="34" charset="0"/>
                  <a:cs typeface="Arial" pitchFamily="34" charset="0"/>
                </a:rPr>
                <a:t>Cost</a:t>
              </a:r>
              <a:r>
                <a:rPr lang="ru-RU" dirty="0" smtClean="0">
                  <a:latin typeface="Impact" pitchFamily="34" charset="0"/>
                  <a:cs typeface="Arial" charset="0"/>
                </a:rPr>
                <a:t> </a:t>
              </a:r>
              <a:r>
                <a:rPr lang="ru-RU" sz="1400" dirty="0">
                  <a:solidFill>
                    <a:srgbClr val="000000"/>
                  </a:solidFill>
                  <a:latin typeface="Impact" pitchFamily="34" charset="0"/>
                </a:rPr>
                <a:t>–</a:t>
              </a:r>
              <a:r>
                <a:rPr lang="ru-RU" sz="1600" dirty="0">
                  <a:latin typeface="Impact" pitchFamily="34" charset="0"/>
                  <a:cs typeface="Arial" charset="0"/>
                </a:rPr>
                <a:t> </a:t>
              </a:r>
              <a:r>
                <a:rPr lang="en-US" dirty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$ 110 </a:t>
              </a:r>
              <a:r>
                <a:rPr lang="en-US" dirty="0" err="1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mln</a:t>
              </a:r>
              <a:r>
                <a:rPr lang="ru-RU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.</a:t>
              </a:r>
              <a:r>
                <a:rPr lang="en-US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 </a:t>
              </a:r>
              <a:endParaRPr lang="ru-RU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</p:txBody>
        </p:sp>
        <p:sp>
          <p:nvSpPr>
            <p:cNvPr id="34" name="Заголовок 6"/>
            <p:cNvSpPr txBox="1">
              <a:spLocks/>
            </p:cNvSpPr>
            <p:nvPr/>
          </p:nvSpPr>
          <p:spPr bwMode="auto">
            <a:xfrm>
              <a:off x="684213" y="4293096"/>
              <a:ext cx="3600450" cy="10795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sx="1000" sy="1000" algn="ctr" rotWithShape="0">
                <a:srgbClr val="000000"/>
              </a:outerShdw>
            </a:effectLst>
          </p:spPr>
          <p:txBody>
            <a:bodyPr lIns="36000" tIns="36000" rIns="36000" bIns="36000" anchor="ctr"/>
            <a:lstStyle>
              <a:defPPr>
                <a:defRPr lang="ru-RU"/>
              </a:defPPr>
              <a:lvl1pPr>
                <a:defRPr sz="1600" b="0">
                  <a:solidFill>
                    <a:srgbClr val="008000"/>
                  </a:solidFill>
                  <a:latin typeface="Impact" pitchFamily="34" charset="0"/>
                  <a:cs typeface="Arial" pitchFamily="34" charset="0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dirty="0" smtClean="0">
                  <a:solidFill>
                    <a:srgbClr val="006600"/>
                  </a:solidFill>
                  <a:cs typeface="Arial" charset="0"/>
                </a:rPr>
                <a:t>3 </a:t>
              </a:r>
              <a:r>
                <a:rPr lang="en-US" dirty="0" smtClean="0">
                  <a:solidFill>
                    <a:schemeClr val="tx1"/>
                  </a:solidFill>
                </a:rPr>
                <a:t>dry-cargo vessels</a:t>
              </a:r>
              <a:endParaRPr lang="ru-RU" sz="1200" dirty="0" smtClean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dirty="0" smtClean="0">
                  <a:solidFill>
                    <a:srgbClr val="006600"/>
                  </a:solidFill>
                  <a:cs typeface="Arial" charset="0"/>
                </a:rPr>
                <a:t>2 </a:t>
              </a:r>
              <a:r>
                <a:rPr lang="en-US" dirty="0" smtClean="0">
                  <a:solidFill>
                    <a:schemeClr val="tx1"/>
                  </a:solidFill>
                </a:rPr>
                <a:t>universal ferries</a:t>
              </a: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5" name="Заголовок 1"/>
            <p:cNvSpPr>
              <a:spLocks/>
            </p:cNvSpPr>
            <p:nvPr/>
          </p:nvSpPr>
          <p:spPr bwMode="auto">
            <a:xfrm>
              <a:off x="2343520" y="1236199"/>
              <a:ext cx="6713392" cy="338138"/>
            </a:xfrm>
            <a:prstGeom prst="roundRect">
              <a:avLst>
                <a:gd name="adj" fmla="val 50000"/>
              </a:avLst>
            </a:prstGeom>
            <a:solidFill>
              <a:srgbClr val="002060"/>
            </a:solidFill>
            <a:ln w="9525">
              <a:noFill/>
              <a:round/>
              <a:headEnd/>
              <a:tailEnd/>
            </a:ln>
          </p:spPr>
          <p:txBody>
            <a:bodyPr anchor="ctr" anchorCtr="0"/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Impact" pitchFamily="34" charset="0"/>
                  <a:cs typeface="Arial" charset="0"/>
                </a:rPr>
                <a:t>Extension of </a:t>
              </a:r>
              <a:r>
                <a:rPr lang="en-US" dirty="0" err="1" smtClean="0">
                  <a:solidFill>
                    <a:schemeClr val="bg1"/>
                  </a:solidFill>
                  <a:latin typeface="Impact" pitchFamily="34" charset="0"/>
                  <a:cs typeface="Arial" charset="0"/>
                </a:rPr>
                <a:t>Aktau</a:t>
              </a:r>
              <a:r>
                <a:rPr lang="en-US" dirty="0" smtClean="0">
                  <a:solidFill>
                    <a:schemeClr val="bg1"/>
                  </a:solidFill>
                  <a:latin typeface="Impact" pitchFamily="34" charset="0"/>
                  <a:cs typeface="Arial" charset="0"/>
                </a:rPr>
                <a:t> port in the northern direction</a:t>
              </a:r>
              <a:endParaRPr lang="ru-RU" dirty="0">
                <a:solidFill>
                  <a:schemeClr val="bg1"/>
                </a:solidFill>
                <a:latin typeface="Impact" pitchFamily="34" charset="0"/>
                <a:cs typeface="Arial" charset="0"/>
              </a:endParaRPr>
            </a:p>
          </p:txBody>
        </p:sp>
        <p:sp>
          <p:nvSpPr>
            <p:cNvPr id="36" name="Прямоугольник 19"/>
            <p:cNvSpPr>
              <a:spLocks noChangeArrowheads="1"/>
            </p:cNvSpPr>
            <p:nvPr/>
          </p:nvSpPr>
          <p:spPr bwMode="auto">
            <a:xfrm>
              <a:off x="1160328" y="5822032"/>
              <a:ext cx="7128693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defTabSz="984250">
                <a:buClr>
                  <a:srgbClr val="0070C0"/>
                </a:buClr>
              </a:pPr>
              <a:r>
                <a:rPr lang="en-US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Increase in a share of Kazakhstan in sea transportation of freights to </a:t>
              </a:r>
              <a:r>
                <a:rPr lang="ru-RU" sz="16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70%</a:t>
              </a:r>
              <a:r>
                <a:rPr lang="ru-RU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 </a:t>
              </a:r>
              <a:r>
                <a:rPr lang="en-US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by </a:t>
              </a:r>
              <a:r>
                <a:rPr lang="ru-RU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2020 </a:t>
              </a:r>
              <a:r>
                <a:rPr lang="ru-RU" sz="1400" i="1" dirty="0">
                  <a:latin typeface="Impact" pitchFamily="34" charset="0"/>
                  <a:cs typeface="Arial" charset="0"/>
                </a:rPr>
                <a:t>(58% - 2012 </a:t>
              </a:r>
              <a:r>
                <a:rPr lang="en-US" sz="1400" i="1" dirty="0" smtClean="0">
                  <a:latin typeface="Impact" pitchFamily="34" charset="0"/>
                  <a:cs typeface="Arial" charset="0"/>
                </a:rPr>
                <a:t>)</a:t>
              </a:r>
              <a:r>
                <a:rPr lang="ru-RU" sz="1400" i="1" dirty="0" smtClean="0">
                  <a:solidFill>
                    <a:srgbClr val="000000"/>
                  </a:solidFill>
                  <a:latin typeface="Impact" pitchFamily="34" charset="0"/>
                  <a:cs typeface="Arial" charset="0"/>
                </a:rPr>
                <a:t>          </a:t>
              </a:r>
              <a:endParaRPr lang="ru-RU" sz="1600" i="1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</p:txBody>
        </p:sp>
        <p:pic>
          <p:nvPicPr>
            <p:cNvPr id="37" name="Picture 20" descr="C:\Documents and Settings\Admin\Мои документы\For prezentations\arrows\tick_64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72296" y="5805264"/>
              <a:ext cx="3048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8" name="Picture 18" descr="Рисунок4"/>
            <p:cNvPicPr>
              <a:picLocks noChangeAspect="1" noChangeArrowheads="1"/>
            </p:cNvPicPr>
            <p:nvPr/>
          </p:nvPicPr>
          <p:blipFill rotWithShape="1">
            <a:blip r:embed="rId6" cstate="print"/>
            <a:srcRect t="5430"/>
            <a:stretch/>
          </p:blipFill>
          <p:spPr bwMode="auto">
            <a:xfrm>
              <a:off x="251520" y="1196752"/>
              <a:ext cx="2451403" cy="183864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174188" y="3539216"/>
              <a:ext cx="8800180" cy="0"/>
            </a:xfrm>
            <a:prstGeom prst="line">
              <a:avLst/>
            </a:prstGeom>
            <a:ln w="12700">
              <a:solidFill>
                <a:schemeClr val="accent2">
                  <a:lumMod val="7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Прямоугольник 36"/>
            <p:cNvSpPr>
              <a:spLocks noChangeArrowheads="1"/>
            </p:cNvSpPr>
            <p:nvPr/>
          </p:nvSpPr>
          <p:spPr bwMode="auto">
            <a:xfrm>
              <a:off x="3060435" y="3021850"/>
              <a:ext cx="504983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Finishing of power of port to </a:t>
              </a:r>
              <a:r>
                <a:rPr lang="ru-RU" sz="16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20,5 </a:t>
              </a:r>
              <a:r>
                <a:rPr lang="en-US" sz="1600" dirty="0" err="1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mln</a:t>
              </a:r>
              <a:r>
                <a:rPr lang="ru-RU" sz="16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. </a:t>
              </a:r>
              <a:r>
                <a:rPr lang="en-US" sz="16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tons</a:t>
              </a:r>
              <a:r>
                <a:rPr lang="ru-RU" sz="16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 </a:t>
              </a:r>
              <a:r>
                <a:rPr lang="en-US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by</a:t>
              </a:r>
              <a:r>
                <a:rPr lang="ru-RU" sz="1600" dirty="0" smtClean="0">
                  <a:solidFill>
                    <a:srgbClr val="008000"/>
                  </a:solidFill>
                  <a:latin typeface="Impact" pitchFamily="34" charset="0"/>
                  <a:cs typeface="Arial" charset="0"/>
                </a:rPr>
                <a:t> 2020 </a:t>
              </a:r>
              <a:endParaRPr lang="ru-RU" sz="1600" dirty="0">
                <a:solidFill>
                  <a:srgbClr val="008000"/>
                </a:solidFill>
                <a:latin typeface="Impact" pitchFamily="34" charset="0"/>
                <a:cs typeface="Arial" charset="0"/>
              </a:endParaRPr>
            </a:p>
          </p:txBody>
        </p:sp>
        <p:pic>
          <p:nvPicPr>
            <p:cNvPr id="41" name="Picture 20" descr="C:\Documents and Settings\Admin\Мои документы\For prezentations\arrows\tick_64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844825" y="3038673"/>
              <a:ext cx="284162" cy="28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" name="Прямоугольник 19"/>
            <p:cNvSpPr>
              <a:spLocks noChangeArrowheads="1"/>
            </p:cNvSpPr>
            <p:nvPr/>
          </p:nvSpPr>
          <p:spPr bwMode="auto">
            <a:xfrm>
              <a:off x="5651500" y="2025140"/>
              <a:ext cx="3673475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84250">
                <a:lnSpc>
                  <a:spcPct val="120000"/>
                </a:lnSpc>
                <a:buFont typeface="Calibri" pitchFamily="34" charset="0"/>
                <a:buChar char="Ø"/>
              </a:pPr>
              <a:r>
                <a:rPr lang="ru-RU" sz="1200" dirty="0">
                  <a:solidFill>
                    <a:srgbClr val="000000"/>
                  </a:solidFill>
                  <a:latin typeface="Impact" pitchFamily="34" charset="0"/>
                </a:rPr>
                <a:t> </a:t>
              </a:r>
              <a:r>
                <a:rPr lang="en-US" sz="1200" dirty="0" smtClean="0">
                  <a:solidFill>
                    <a:srgbClr val="000000"/>
                  </a:solidFill>
                  <a:latin typeface="Impact" pitchFamily="34" charset="0"/>
                </a:rPr>
                <a:t>Cost </a:t>
              </a: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</a:rPr>
                <a:t>: </a:t>
              </a:r>
              <a:r>
                <a:rPr lang="en-US" sz="1400" dirty="0">
                  <a:solidFill>
                    <a:srgbClr val="0070C0"/>
                  </a:solidFill>
                  <a:latin typeface="Impact" pitchFamily="34" charset="0"/>
                </a:rPr>
                <a:t>$ </a:t>
              </a:r>
              <a:r>
                <a:rPr lang="ru-RU" sz="1400" dirty="0">
                  <a:solidFill>
                    <a:srgbClr val="0070C0"/>
                  </a:solidFill>
                  <a:latin typeface="Impact" pitchFamily="34" charset="0"/>
                </a:rPr>
                <a:t>126 </a:t>
              </a:r>
              <a:r>
                <a:rPr lang="en-US" sz="1400" dirty="0" err="1" smtClean="0">
                  <a:solidFill>
                    <a:srgbClr val="0070C0"/>
                  </a:solidFill>
                  <a:latin typeface="Impact" pitchFamily="34" charset="0"/>
                </a:rPr>
                <a:t>mln</a:t>
              </a: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</a:rPr>
                <a:t>. </a:t>
              </a:r>
            </a:p>
            <a:p>
              <a:pPr defTabSz="984250">
                <a:lnSpc>
                  <a:spcPct val="120000"/>
                </a:lnSpc>
              </a:pPr>
              <a:r>
                <a:rPr lang="ru-RU" sz="1200" i="1" dirty="0" smtClean="0">
                  <a:latin typeface="Calibri" panose="020F0502020204030204" pitchFamily="34" charset="0"/>
                </a:rPr>
                <a:t>(</a:t>
              </a:r>
              <a:r>
                <a:rPr lang="en-US" sz="1200" i="1" dirty="0" smtClean="0">
                  <a:latin typeface="Calibri" panose="020F0502020204030204" pitchFamily="34" charset="0"/>
                </a:rPr>
                <a:t>private investments</a:t>
              </a:r>
              <a:r>
                <a:rPr lang="ru-RU" sz="1200" i="1" dirty="0" smtClean="0">
                  <a:latin typeface="Calibri" panose="020F0502020204030204" pitchFamily="34" charset="0"/>
                </a:rPr>
                <a:t>)</a:t>
              </a:r>
              <a:endParaRPr lang="ru-RU" sz="1200" i="1" dirty="0">
                <a:latin typeface="Calibri" panose="020F0502020204030204" pitchFamily="34" charset="0"/>
              </a:endParaRPr>
            </a:p>
            <a:p>
              <a:pPr defTabSz="984250">
                <a:lnSpc>
                  <a:spcPct val="120000"/>
                </a:lnSpc>
                <a:buFont typeface="Calibri" pitchFamily="34" charset="0"/>
                <a:buChar char="Ø"/>
              </a:pPr>
              <a:r>
                <a:rPr lang="en-US" sz="1200" dirty="0" smtClean="0">
                  <a:latin typeface="Impact" pitchFamily="34" charset="0"/>
                </a:rPr>
                <a:t>Ending</a:t>
              </a:r>
              <a:r>
                <a:rPr lang="ru-RU" sz="1200" dirty="0" smtClean="0">
                  <a:latin typeface="Impact" pitchFamily="34" charset="0"/>
                </a:rPr>
                <a:t>:</a:t>
              </a:r>
              <a:r>
                <a:rPr lang="ru-RU" sz="1200" dirty="0" smtClean="0">
                  <a:solidFill>
                    <a:srgbClr val="0070C0"/>
                  </a:solidFill>
                  <a:latin typeface="Impact" pitchFamily="34" charset="0"/>
                </a:rPr>
                <a:t> </a:t>
              </a: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</a:rPr>
                <a:t>2015</a:t>
              </a:r>
              <a:endParaRPr lang="ru-RU" sz="1200" dirty="0">
                <a:latin typeface="Impact" pitchFamily="34" charset="0"/>
              </a:endParaRPr>
            </a:p>
          </p:txBody>
        </p:sp>
        <p:sp>
          <p:nvSpPr>
            <p:cNvPr id="43" name="TextBox 20"/>
            <p:cNvSpPr txBox="1">
              <a:spLocks noChangeArrowheads="1"/>
            </p:cNvSpPr>
            <p:nvPr/>
          </p:nvSpPr>
          <p:spPr bwMode="auto">
            <a:xfrm>
              <a:off x="2796492" y="1648594"/>
              <a:ext cx="216116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rgbClr val="002060"/>
                  </a:solidFill>
                  <a:latin typeface="Impact" pitchFamily="34" charset="0"/>
                </a:rPr>
                <a:t>Dredging of the water area </a:t>
              </a:r>
              <a:endParaRPr lang="ru-RU" sz="1400" dirty="0">
                <a:solidFill>
                  <a:srgbClr val="002060"/>
                </a:solidFill>
                <a:latin typeface="Impact" pitchFamily="34" charset="0"/>
              </a:endParaRPr>
            </a:p>
          </p:txBody>
        </p:sp>
        <p:sp>
          <p:nvSpPr>
            <p:cNvPr id="44" name="Прямоугольник 21"/>
            <p:cNvSpPr>
              <a:spLocks noChangeArrowheads="1"/>
            </p:cNvSpPr>
            <p:nvPr/>
          </p:nvSpPr>
          <p:spPr bwMode="auto">
            <a:xfrm>
              <a:off x="5652120" y="1648594"/>
              <a:ext cx="345598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400" dirty="0" smtClean="0">
                  <a:solidFill>
                    <a:srgbClr val="002060"/>
                  </a:solidFill>
                  <a:latin typeface="Impact" pitchFamily="34" charset="0"/>
                </a:rPr>
                <a:t>Construction of 3 Dry-cargo Terminals</a:t>
              </a:r>
              <a:endParaRPr lang="ru-RU" sz="1400" dirty="0">
                <a:solidFill>
                  <a:srgbClr val="002060"/>
                </a:solidFill>
                <a:latin typeface="Impact" pitchFamily="34" charset="0"/>
              </a:endParaRPr>
            </a:p>
          </p:txBody>
        </p:sp>
        <p:sp>
          <p:nvSpPr>
            <p:cNvPr id="45" name="Прямоугольник 22"/>
            <p:cNvSpPr>
              <a:spLocks noChangeArrowheads="1"/>
            </p:cNvSpPr>
            <p:nvPr/>
          </p:nvSpPr>
          <p:spPr bwMode="auto">
            <a:xfrm>
              <a:off x="2771775" y="1997844"/>
              <a:ext cx="3313113" cy="904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84250">
                <a:lnSpc>
                  <a:spcPct val="120000"/>
                </a:lnSpc>
                <a:buFont typeface="Calibri" pitchFamily="34" charset="0"/>
                <a:buChar char="Ø"/>
              </a:pPr>
              <a:r>
                <a:rPr lang="ru-RU" sz="1200" dirty="0">
                  <a:solidFill>
                    <a:srgbClr val="000000"/>
                  </a:solidFill>
                  <a:latin typeface="Impact" pitchFamily="34" charset="0"/>
                </a:rPr>
                <a:t> </a:t>
              </a:r>
              <a:r>
                <a:rPr lang="en-US" sz="1200" dirty="0" smtClean="0">
                  <a:solidFill>
                    <a:srgbClr val="000000"/>
                  </a:solidFill>
                  <a:latin typeface="Impact" pitchFamily="34" charset="0"/>
                </a:rPr>
                <a:t>Cost</a:t>
              </a:r>
              <a:r>
                <a:rPr lang="ru-RU" sz="1200" dirty="0" smtClean="0">
                  <a:solidFill>
                    <a:srgbClr val="000000"/>
                  </a:solidFill>
                  <a:latin typeface="Impact" pitchFamily="34" charset="0"/>
                </a:rPr>
                <a:t>: </a:t>
              </a:r>
              <a:r>
                <a:rPr lang="en-US" sz="1200" dirty="0">
                  <a:solidFill>
                    <a:srgbClr val="000000"/>
                  </a:solidFill>
                  <a:latin typeface="Impact" pitchFamily="34" charset="0"/>
                </a:rPr>
                <a:t>$ </a:t>
              </a:r>
              <a:r>
                <a:rPr lang="ru-RU" sz="1400" dirty="0">
                  <a:solidFill>
                    <a:srgbClr val="0070C0"/>
                  </a:solidFill>
                  <a:latin typeface="Impact" pitchFamily="34" charset="0"/>
                </a:rPr>
                <a:t>20 </a:t>
              </a:r>
              <a:r>
                <a:rPr lang="en-US" sz="1400" dirty="0" err="1" smtClean="0">
                  <a:solidFill>
                    <a:srgbClr val="0070C0"/>
                  </a:solidFill>
                  <a:latin typeface="Impact" pitchFamily="34" charset="0"/>
                </a:rPr>
                <a:t>mln</a:t>
              </a: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</a:rPr>
                <a:t>. </a:t>
              </a:r>
              <a:endParaRPr lang="ru-RU" sz="1400" dirty="0">
                <a:solidFill>
                  <a:srgbClr val="0070C0"/>
                </a:solidFill>
                <a:latin typeface="Impact" pitchFamily="34" charset="0"/>
              </a:endParaRPr>
            </a:p>
            <a:p>
              <a:pPr defTabSz="984250">
                <a:lnSpc>
                  <a:spcPct val="120000"/>
                </a:lnSpc>
              </a:pPr>
              <a:r>
                <a:rPr lang="ru-RU" sz="1400" i="1" dirty="0">
                  <a:solidFill>
                    <a:srgbClr val="0070C0"/>
                  </a:solidFill>
                  <a:latin typeface="Calibri" panose="020F0502020204030204" pitchFamily="34" charset="0"/>
                </a:rPr>
                <a:t>    </a:t>
              </a:r>
              <a:r>
                <a:rPr lang="ru-RU" sz="1200" i="1" dirty="0" smtClean="0">
                  <a:latin typeface="Calibri" panose="020F0502020204030204" pitchFamily="34" charset="0"/>
                </a:rPr>
                <a:t>(</a:t>
              </a:r>
              <a:r>
                <a:rPr lang="en-US" sz="1200" i="1" dirty="0" smtClean="0">
                  <a:latin typeface="Calibri" panose="020F0502020204030204" pitchFamily="34" charset="0"/>
                </a:rPr>
                <a:t>own</a:t>
              </a:r>
              <a:r>
                <a:rPr lang="ru-RU" sz="1200" i="1" dirty="0" smtClean="0">
                  <a:latin typeface="Calibri" panose="020F0502020204030204" pitchFamily="34" charset="0"/>
                </a:rPr>
                <a:t> </a:t>
              </a:r>
              <a:r>
                <a:rPr lang="en-US" sz="1200" i="1" dirty="0" smtClean="0">
                  <a:latin typeface="Calibri" panose="020F0502020204030204" pitchFamily="34" charset="0"/>
                </a:rPr>
                <a:t>means</a:t>
              </a:r>
              <a:r>
                <a:rPr lang="ru-RU" sz="1200" i="1" dirty="0" smtClean="0">
                  <a:latin typeface="Calibri" panose="020F0502020204030204" pitchFamily="34" charset="0"/>
                </a:rPr>
                <a:t>)</a:t>
              </a:r>
              <a:endParaRPr lang="ru-RU" sz="1200" i="1" dirty="0">
                <a:latin typeface="Calibri" panose="020F0502020204030204" pitchFamily="34" charset="0"/>
              </a:endParaRPr>
            </a:p>
            <a:p>
              <a:pPr defTabSz="984250">
                <a:lnSpc>
                  <a:spcPct val="120000"/>
                </a:lnSpc>
              </a:pPr>
              <a:endParaRPr lang="ru-RU" sz="200" dirty="0">
                <a:solidFill>
                  <a:srgbClr val="0070C0"/>
                </a:solidFill>
                <a:latin typeface="Impact" pitchFamily="34" charset="0"/>
              </a:endParaRPr>
            </a:p>
            <a:p>
              <a:pPr defTabSz="984250">
                <a:lnSpc>
                  <a:spcPct val="120000"/>
                </a:lnSpc>
                <a:buFont typeface="Calibri" pitchFamily="34" charset="0"/>
                <a:buChar char="Ø"/>
              </a:pPr>
              <a:r>
                <a:rPr lang="ru-RU" sz="1200" dirty="0">
                  <a:latin typeface="Impact" pitchFamily="34" charset="0"/>
                </a:rPr>
                <a:t>  </a:t>
              </a:r>
              <a:r>
                <a:rPr lang="en-US" sz="1200" dirty="0" smtClean="0">
                  <a:latin typeface="Impact" pitchFamily="34" charset="0"/>
                </a:rPr>
                <a:t>Ending</a:t>
              </a:r>
              <a:r>
                <a:rPr lang="ru-RU" sz="1200" dirty="0" smtClean="0">
                  <a:latin typeface="Impact" pitchFamily="34" charset="0"/>
                </a:rPr>
                <a:t>:</a:t>
              </a:r>
              <a:r>
                <a:rPr lang="ru-RU" sz="1200" dirty="0" smtClean="0">
                  <a:solidFill>
                    <a:srgbClr val="0070C0"/>
                  </a:solidFill>
                  <a:latin typeface="Impact" pitchFamily="34" charset="0"/>
                </a:rPr>
                <a:t> </a:t>
              </a:r>
              <a:r>
                <a:rPr lang="en-US" sz="1400" dirty="0" smtClean="0">
                  <a:solidFill>
                    <a:srgbClr val="0070C0"/>
                  </a:solidFill>
                  <a:latin typeface="Impact" pitchFamily="34" charset="0"/>
                </a:rPr>
                <a:t>March, </a:t>
              </a: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</a:rPr>
                <a:t>2015</a:t>
              </a:r>
              <a:endParaRPr lang="ru-RU" sz="1400" dirty="0">
                <a:solidFill>
                  <a:srgbClr val="0070C0"/>
                </a:solidFill>
                <a:latin typeface="Impact" pitchFamily="34" charset="0"/>
              </a:endParaRPr>
            </a:p>
          </p:txBody>
        </p:sp>
        <p:sp>
          <p:nvSpPr>
            <p:cNvPr id="46" name="Заголовок 1"/>
            <p:cNvSpPr>
              <a:spLocks/>
            </p:cNvSpPr>
            <p:nvPr/>
          </p:nvSpPr>
          <p:spPr bwMode="auto">
            <a:xfrm>
              <a:off x="1248746" y="3631505"/>
              <a:ext cx="6877050" cy="338138"/>
            </a:xfrm>
            <a:prstGeom prst="roundRect">
              <a:avLst>
                <a:gd name="adj" fmla="val 880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/>
              <a:r>
                <a:rPr lang="en-US" dirty="0" smtClean="0">
                  <a:solidFill>
                    <a:srgbClr val="595959"/>
                  </a:solidFill>
                  <a:latin typeface="Impact" pitchFamily="34" charset="0"/>
                  <a:cs typeface="Arial" charset="0"/>
                </a:rPr>
                <a:t>Purchase of vessels of navy</a:t>
              </a:r>
            </a:p>
          </p:txBody>
        </p:sp>
      </p:grpSp>
      <p:sp>
        <p:nvSpPr>
          <p:cNvPr id="21" name="Овал 20"/>
          <p:cNvSpPr/>
          <p:nvPr/>
        </p:nvSpPr>
        <p:spPr>
          <a:xfrm>
            <a:off x="8676456" y="6590660"/>
            <a:ext cx="442934" cy="26734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Impact" pitchFamily="34" charset="0"/>
              </a:rPr>
              <a:t>10</a:t>
            </a:r>
            <a:endParaRPr lang="ru-RU" sz="1000" dirty="0">
              <a:latin typeface="Impact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Picture 2" descr="D:\For prezentations\kz_icons\spiral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rcRect/>
          <a:stretch>
            <a:fillRect/>
          </a:stretch>
        </p:blipFill>
        <p:spPr bwMode="auto">
          <a:xfrm>
            <a:off x="428596" y="500042"/>
            <a:ext cx="7600433" cy="5555506"/>
          </a:xfrm>
          <a:prstGeom prst="rect">
            <a:avLst/>
          </a:prstGeom>
          <a:noFill/>
          <a:extLst/>
        </p:spPr>
      </p:pic>
      <p:pic>
        <p:nvPicPr>
          <p:cNvPr id="1027" name="Picture 3" descr="D:\For prezentations\kz_icons\Map1 copy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0" y="1357298"/>
            <a:ext cx="9029540" cy="4144416"/>
          </a:xfrm>
          <a:prstGeom prst="rect">
            <a:avLst/>
          </a:prstGeom>
          <a:noFill/>
          <a:extLst/>
        </p:spPr>
      </p:pic>
      <p:grpSp>
        <p:nvGrpSpPr>
          <p:cNvPr id="2" name="Группа 22"/>
          <p:cNvGrpSpPr>
            <a:grpSpLocks/>
          </p:cNvGrpSpPr>
          <p:nvPr/>
        </p:nvGrpSpPr>
        <p:grpSpPr bwMode="auto">
          <a:xfrm>
            <a:off x="179735" y="764704"/>
            <a:ext cx="2232025" cy="1868487"/>
            <a:chOff x="5796136" y="803845"/>
            <a:chExt cx="2232248" cy="1868100"/>
          </a:xfrm>
        </p:grpSpPr>
        <p:pic>
          <p:nvPicPr>
            <p:cNvPr id="26666" name="Picture 13" descr="D:\For prezentations\Earth\browser_alt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907285" y="803845"/>
              <a:ext cx="1040979" cy="10409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Группа 20"/>
            <p:cNvGrpSpPr>
              <a:grpSpLocks/>
            </p:cNvGrpSpPr>
            <p:nvPr/>
          </p:nvGrpSpPr>
          <p:grpSpPr bwMode="auto">
            <a:xfrm>
              <a:off x="5796136" y="908598"/>
              <a:ext cx="2232248" cy="1763347"/>
              <a:chOff x="5580112" y="801557"/>
              <a:chExt cx="2232248" cy="1763347"/>
            </a:xfrm>
          </p:grpSpPr>
          <p:grpSp>
            <p:nvGrpSpPr>
              <p:cNvPr id="7" name="Группа 7"/>
              <p:cNvGrpSpPr>
                <a:grpSpLocks/>
              </p:cNvGrpSpPr>
              <p:nvPr/>
            </p:nvGrpSpPr>
            <p:grpSpPr bwMode="auto">
              <a:xfrm>
                <a:off x="5580112" y="980728"/>
                <a:ext cx="1584176" cy="1584176"/>
                <a:chOff x="5076056" y="1158408"/>
                <a:chExt cx="1729561" cy="1729561"/>
              </a:xfrm>
            </p:grpSpPr>
            <p:grpSp>
              <p:nvGrpSpPr>
                <p:cNvPr id="8" name="Группа 6"/>
                <p:cNvGrpSpPr>
                  <a:grpSpLocks/>
                </p:cNvGrpSpPr>
                <p:nvPr/>
              </p:nvGrpSpPr>
              <p:grpSpPr bwMode="auto">
                <a:xfrm>
                  <a:off x="5076056" y="1158408"/>
                  <a:ext cx="1729561" cy="1729561"/>
                  <a:chOff x="5076056" y="1158408"/>
                  <a:chExt cx="1729561" cy="1729561"/>
                </a:xfrm>
              </p:grpSpPr>
              <p:pic>
                <p:nvPicPr>
                  <p:cNvPr id="26675" name="Picture 5" descr="D:\For prezentations\Numbers.png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/>
                  <a:srcRect/>
                  <a:stretch>
                    <a:fillRect/>
                  </a:stretch>
                </p:blipFill>
                <p:spPr bwMode="auto">
                  <a:xfrm>
                    <a:off x="5076056" y="1158408"/>
                    <a:ext cx="1729561" cy="172956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6" name="Прямоугольник 5"/>
                  <p:cNvSpPr/>
                  <p:nvPr/>
                </p:nvSpPr>
                <p:spPr>
                  <a:xfrm>
                    <a:off x="5639399" y="2172310"/>
                    <a:ext cx="1038284" cy="561437"/>
                  </a:xfrm>
                  <a:custGeom>
                    <a:avLst/>
                    <a:gdLst>
                      <a:gd name="connsiteX0" fmla="*/ 0 w 1153497"/>
                      <a:gd name="connsiteY0" fmla="*/ 0 h 344381"/>
                      <a:gd name="connsiteX1" fmla="*/ 1153497 w 1153497"/>
                      <a:gd name="connsiteY1" fmla="*/ 0 h 344381"/>
                      <a:gd name="connsiteX2" fmla="*/ 1153497 w 1153497"/>
                      <a:gd name="connsiteY2" fmla="*/ 344381 h 344381"/>
                      <a:gd name="connsiteX3" fmla="*/ 0 w 1153497"/>
                      <a:gd name="connsiteY3" fmla="*/ 344381 h 344381"/>
                      <a:gd name="connsiteX4" fmla="*/ 0 w 1153497"/>
                      <a:gd name="connsiteY4" fmla="*/ 0 h 344381"/>
                      <a:gd name="connsiteX0" fmla="*/ 0 w 1153497"/>
                      <a:gd name="connsiteY0" fmla="*/ 215153 h 559534"/>
                      <a:gd name="connsiteX1" fmla="*/ 895313 w 1153497"/>
                      <a:gd name="connsiteY1" fmla="*/ 0 h 559534"/>
                      <a:gd name="connsiteX2" fmla="*/ 1153497 w 1153497"/>
                      <a:gd name="connsiteY2" fmla="*/ 559534 h 559534"/>
                      <a:gd name="connsiteX3" fmla="*/ 0 w 1153497"/>
                      <a:gd name="connsiteY3" fmla="*/ 559534 h 559534"/>
                      <a:gd name="connsiteX4" fmla="*/ 0 w 1153497"/>
                      <a:gd name="connsiteY4" fmla="*/ 215153 h 559534"/>
                      <a:gd name="connsiteX0" fmla="*/ 0 w 1024405"/>
                      <a:gd name="connsiteY0" fmla="*/ 215153 h 559534"/>
                      <a:gd name="connsiteX1" fmla="*/ 895313 w 1024405"/>
                      <a:gd name="connsiteY1" fmla="*/ 0 h 559534"/>
                      <a:gd name="connsiteX2" fmla="*/ 1024405 w 1024405"/>
                      <a:gd name="connsiteY2" fmla="*/ 215290 h 559534"/>
                      <a:gd name="connsiteX3" fmla="*/ 0 w 1024405"/>
                      <a:gd name="connsiteY3" fmla="*/ 559534 h 559534"/>
                      <a:gd name="connsiteX4" fmla="*/ 0 w 1024405"/>
                      <a:gd name="connsiteY4" fmla="*/ 215153 h 559534"/>
                      <a:gd name="connsiteX0" fmla="*/ 0 w 1024405"/>
                      <a:gd name="connsiteY0" fmla="*/ 215153 h 484231"/>
                      <a:gd name="connsiteX1" fmla="*/ 895313 w 1024405"/>
                      <a:gd name="connsiteY1" fmla="*/ 0 h 484231"/>
                      <a:gd name="connsiteX2" fmla="*/ 1024405 w 1024405"/>
                      <a:gd name="connsiteY2" fmla="*/ 215290 h 484231"/>
                      <a:gd name="connsiteX3" fmla="*/ 172122 w 1024405"/>
                      <a:gd name="connsiteY3" fmla="*/ 484231 h 484231"/>
                      <a:gd name="connsiteX4" fmla="*/ 0 w 1024405"/>
                      <a:gd name="connsiteY4" fmla="*/ 215153 h 484231"/>
                      <a:gd name="connsiteX0" fmla="*/ 0 w 1024405"/>
                      <a:gd name="connsiteY0" fmla="*/ 215153 h 538019"/>
                      <a:gd name="connsiteX1" fmla="*/ 895313 w 1024405"/>
                      <a:gd name="connsiteY1" fmla="*/ 0 h 538019"/>
                      <a:gd name="connsiteX2" fmla="*/ 1024405 w 1024405"/>
                      <a:gd name="connsiteY2" fmla="*/ 215290 h 538019"/>
                      <a:gd name="connsiteX3" fmla="*/ 150607 w 1024405"/>
                      <a:gd name="connsiteY3" fmla="*/ 538019 h 538019"/>
                      <a:gd name="connsiteX4" fmla="*/ 0 w 1024405"/>
                      <a:gd name="connsiteY4" fmla="*/ 215153 h 538019"/>
                      <a:gd name="connsiteX0" fmla="*/ 0 w 992132"/>
                      <a:gd name="connsiteY0" fmla="*/ 290456 h 538019"/>
                      <a:gd name="connsiteX1" fmla="*/ 863040 w 992132"/>
                      <a:gd name="connsiteY1" fmla="*/ 0 h 538019"/>
                      <a:gd name="connsiteX2" fmla="*/ 992132 w 992132"/>
                      <a:gd name="connsiteY2" fmla="*/ 215290 h 538019"/>
                      <a:gd name="connsiteX3" fmla="*/ 118334 w 992132"/>
                      <a:gd name="connsiteY3" fmla="*/ 538019 h 538019"/>
                      <a:gd name="connsiteX4" fmla="*/ 0 w 992132"/>
                      <a:gd name="connsiteY4" fmla="*/ 290456 h 538019"/>
                      <a:gd name="connsiteX0" fmla="*/ 0 w 1037852"/>
                      <a:gd name="connsiteY0" fmla="*/ 305696 h 538019"/>
                      <a:gd name="connsiteX1" fmla="*/ 908760 w 1037852"/>
                      <a:gd name="connsiteY1" fmla="*/ 0 h 538019"/>
                      <a:gd name="connsiteX2" fmla="*/ 1037852 w 1037852"/>
                      <a:gd name="connsiteY2" fmla="*/ 215290 h 538019"/>
                      <a:gd name="connsiteX3" fmla="*/ 164054 w 1037852"/>
                      <a:gd name="connsiteY3" fmla="*/ 538019 h 538019"/>
                      <a:gd name="connsiteX4" fmla="*/ 0 w 1037852"/>
                      <a:gd name="connsiteY4" fmla="*/ 305696 h 538019"/>
                      <a:gd name="connsiteX0" fmla="*/ 0 w 1037852"/>
                      <a:gd name="connsiteY0" fmla="*/ 305696 h 560879"/>
                      <a:gd name="connsiteX1" fmla="*/ 908760 w 1037852"/>
                      <a:gd name="connsiteY1" fmla="*/ 0 h 560879"/>
                      <a:gd name="connsiteX2" fmla="*/ 1037852 w 1037852"/>
                      <a:gd name="connsiteY2" fmla="*/ 215290 h 560879"/>
                      <a:gd name="connsiteX3" fmla="*/ 118334 w 1037852"/>
                      <a:gd name="connsiteY3" fmla="*/ 560879 h 560879"/>
                      <a:gd name="connsiteX4" fmla="*/ 0 w 1037852"/>
                      <a:gd name="connsiteY4" fmla="*/ 305696 h 5608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37852" h="560879">
                        <a:moveTo>
                          <a:pt x="0" y="305696"/>
                        </a:moveTo>
                        <a:lnTo>
                          <a:pt x="908760" y="0"/>
                        </a:lnTo>
                        <a:lnTo>
                          <a:pt x="1037852" y="215290"/>
                        </a:lnTo>
                        <a:lnTo>
                          <a:pt x="118334" y="560879"/>
                        </a:lnTo>
                        <a:lnTo>
                          <a:pt x="0" y="30569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ru-RU">
                      <a:latin typeface="Impact" pitchFamily="34" charset="0"/>
                    </a:endParaRPr>
                  </a:p>
                </p:txBody>
              </p:sp>
            </p:grpSp>
            <p:sp>
              <p:nvSpPr>
                <p:cNvPr id="4" name="Прямоугольник 3"/>
                <p:cNvSpPr/>
                <p:nvPr/>
              </p:nvSpPr>
              <p:spPr>
                <a:xfrm rot="20438966">
                  <a:off x="5898742" y="2222517"/>
                  <a:ext cx="495682" cy="40314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>
                    <a:buClr>
                      <a:srgbClr val="0070C0"/>
                    </a:buClr>
                    <a:defRPr/>
                  </a:pPr>
                  <a:r>
                    <a:rPr lang="en-US" sz="1800" dirty="0">
                      <a:ln w="10541" cmpd="sng">
                        <a:solidFill>
                          <a:schemeClr val="accent1">
                            <a:shade val="88000"/>
                            <a:satMod val="110000"/>
                          </a:schemeClr>
                        </a:solidFill>
                        <a:prstDash val="solid"/>
                      </a:ln>
                      <a:gradFill>
                        <a:gsLst>
                          <a:gs pos="0">
                            <a:schemeClr val="accent1">
                              <a:tint val="40000"/>
                              <a:satMod val="250000"/>
                            </a:schemeClr>
                          </a:gs>
                          <a:gs pos="9000">
                            <a:schemeClr val="accent1">
                              <a:tint val="52000"/>
                              <a:satMod val="300000"/>
                            </a:schemeClr>
                          </a:gs>
                          <a:gs pos="50000">
                            <a:schemeClr val="accent1">
                              <a:shade val="20000"/>
                              <a:satMod val="300000"/>
                            </a:schemeClr>
                          </a:gs>
                          <a:gs pos="79000">
                            <a:schemeClr val="accent1">
                              <a:tint val="52000"/>
                              <a:satMod val="300000"/>
                            </a:schemeClr>
                          </a:gs>
                          <a:gs pos="100000">
                            <a:schemeClr val="accent1">
                              <a:tint val="40000"/>
                              <a:satMod val="250000"/>
                            </a:schemeClr>
                          </a:gs>
                        </a:gsLst>
                        <a:lin ang="5400000"/>
                      </a:gradFill>
                      <a:latin typeface="Impact" pitchFamily="34" charset="0"/>
                    </a:rPr>
                    <a:t>LPI</a:t>
                  </a:r>
                </a:p>
              </p:txBody>
            </p:sp>
          </p:grpSp>
          <p:grpSp>
            <p:nvGrpSpPr>
              <p:cNvPr id="9" name="Группа 8"/>
              <p:cNvGrpSpPr>
                <a:grpSpLocks/>
              </p:cNvGrpSpPr>
              <p:nvPr/>
            </p:nvGrpSpPr>
            <p:grpSpPr bwMode="auto">
              <a:xfrm>
                <a:off x="7000842" y="801557"/>
                <a:ext cx="811518" cy="1598341"/>
                <a:chOff x="6731215" y="1060056"/>
                <a:chExt cx="811518" cy="1598341"/>
              </a:xfrm>
            </p:grpSpPr>
            <p:sp>
              <p:nvSpPr>
                <p:cNvPr id="5" name="Прямоугольник 4"/>
                <p:cNvSpPr/>
                <p:nvPr/>
              </p:nvSpPr>
              <p:spPr>
                <a:xfrm>
                  <a:off x="6910845" y="2258370"/>
                  <a:ext cx="462032" cy="40002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>
                    <a:defRPr/>
                  </a:pPr>
                  <a:r>
                    <a:rPr lang="ru-RU" sz="2000" dirty="0">
                      <a:solidFill>
                        <a:srgbClr val="C00000"/>
                      </a:solidFill>
                      <a:latin typeface="Impact" pitchFamily="34" charset="0"/>
                      <a:cs typeface="Arial" charset="0"/>
                    </a:rPr>
                    <a:t>86</a:t>
                  </a:r>
                </a:p>
              </p:txBody>
            </p:sp>
            <p:pic>
              <p:nvPicPr>
                <p:cNvPr id="26671" name="Picture 7" descr="D:\For prezentations\arrows\up.png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6731215" y="1526463"/>
                  <a:ext cx="811518" cy="8115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6" name="Прямоугольник 25"/>
                <p:cNvSpPr/>
                <p:nvPr/>
              </p:nvSpPr>
              <p:spPr>
                <a:xfrm>
                  <a:off x="6858453" y="1060056"/>
                  <a:ext cx="556619" cy="52311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>
                    <a:defRPr/>
                  </a:pPr>
                  <a:r>
                    <a:rPr lang="en-US" sz="2800" dirty="0">
                      <a:solidFill>
                        <a:srgbClr val="0070C0"/>
                      </a:solidFill>
                      <a:latin typeface="Impact" pitchFamily="34" charset="0"/>
                      <a:cs typeface="Arial" charset="0"/>
                    </a:rPr>
                    <a:t>40</a:t>
                  </a:r>
                  <a:endParaRPr lang="ru-RU" sz="2800" dirty="0">
                    <a:solidFill>
                      <a:srgbClr val="0070C0"/>
                    </a:solidFill>
                    <a:latin typeface="Impact" pitchFamily="34" charset="0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10" name="Группа 56"/>
          <p:cNvGrpSpPr>
            <a:grpSpLocks/>
          </p:cNvGrpSpPr>
          <p:nvPr/>
        </p:nvGrpSpPr>
        <p:grpSpPr bwMode="auto">
          <a:xfrm>
            <a:off x="133153" y="4977016"/>
            <a:ext cx="2782951" cy="1777703"/>
            <a:chOff x="3188583" y="4758923"/>
            <a:chExt cx="3161455" cy="2049901"/>
          </a:xfrm>
        </p:grpSpPr>
        <p:grpSp>
          <p:nvGrpSpPr>
            <p:cNvPr id="11" name="Группа 14"/>
            <p:cNvGrpSpPr>
              <a:grpSpLocks/>
            </p:cNvGrpSpPr>
            <p:nvPr/>
          </p:nvGrpSpPr>
          <p:grpSpPr bwMode="auto">
            <a:xfrm>
              <a:off x="3188583" y="4758923"/>
              <a:ext cx="3161455" cy="1634669"/>
              <a:chOff x="198367" y="1518188"/>
              <a:chExt cx="3161455" cy="1634669"/>
            </a:xfrm>
          </p:grpSpPr>
          <p:grpSp>
            <p:nvGrpSpPr>
              <p:cNvPr id="12" name="Группа 11"/>
              <p:cNvGrpSpPr>
                <a:grpSpLocks/>
              </p:cNvGrpSpPr>
              <p:nvPr/>
            </p:nvGrpSpPr>
            <p:grpSpPr bwMode="auto">
              <a:xfrm>
                <a:off x="1047277" y="2165407"/>
                <a:ext cx="1241983" cy="987450"/>
                <a:chOff x="707281" y="2431821"/>
                <a:chExt cx="1241983" cy="987450"/>
              </a:xfrm>
            </p:grpSpPr>
            <p:pic>
              <p:nvPicPr>
                <p:cNvPr id="26662" name="Picture 2" descr="D:\For prezentations\container\self2.pn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013675" y="2431821"/>
                  <a:ext cx="688763" cy="6887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6663" name="Picture 2" descr="D:\For prezentations\container\self2.pn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1260501" y="2567273"/>
                  <a:ext cx="688763" cy="6887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6664" name="Picture 2" descr="D:\For prezentations\container\self2.pn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707281" y="2599834"/>
                  <a:ext cx="688763" cy="6887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6665" name="Picture 2" descr="D:\For prezentations\container\self2.png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916120" y="2730509"/>
                  <a:ext cx="688763" cy="6887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13" name="Группа 13"/>
              <p:cNvGrpSpPr>
                <a:grpSpLocks/>
              </p:cNvGrpSpPr>
              <p:nvPr/>
            </p:nvGrpSpPr>
            <p:grpSpPr bwMode="auto">
              <a:xfrm>
                <a:off x="198367" y="1518189"/>
                <a:ext cx="963686" cy="1525872"/>
                <a:chOff x="2228956" y="1518189"/>
                <a:chExt cx="963686" cy="1525872"/>
              </a:xfrm>
            </p:grpSpPr>
            <p:pic>
              <p:nvPicPr>
                <p:cNvPr id="26660" name="Picture 7" descr="D:\For prezentations\arrows\up.png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2303895" y="2232543"/>
                  <a:ext cx="811518" cy="8115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7" name="Прямоугольник 36"/>
                <p:cNvSpPr/>
                <p:nvPr/>
              </p:nvSpPr>
              <p:spPr>
                <a:xfrm>
                  <a:off x="2228956" y="1518189"/>
                  <a:ext cx="963686" cy="78078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ru-RU" sz="2400" dirty="0" smtClean="0">
                      <a:solidFill>
                        <a:srgbClr val="0070C0"/>
                      </a:solidFill>
                      <a:latin typeface="Impact" pitchFamily="34" charset="0"/>
                      <a:cs typeface="Arial" charset="0"/>
                    </a:rPr>
                    <a:t>30</a:t>
                  </a:r>
                  <a:endParaRPr lang="ru-RU" sz="2000" dirty="0">
                    <a:solidFill>
                      <a:srgbClr val="0070C0"/>
                    </a:solidFill>
                    <a:latin typeface="Impact" pitchFamily="34" charset="0"/>
                    <a:cs typeface="Arial" charset="0"/>
                  </a:endParaRPr>
                </a:p>
                <a:p>
                  <a:pPr algn="ctr">
                    <a:defRPr/>
                  </a:pPr>
                  <a:r>
                    <a:rPr lang="en-US" sz="1400" dirty="0" err="1" smtClean="0">
                      <a:latin typeface="Impact" pitchFamily="34" charset="0"/>
                      <a:cs typeface="Arial" charset="0"/>
                    </a:rPr>
                    <a:t>Mln</a:t>
                  </a:r>
                  <a:r>
                    <a:rPr lang="ru-RU" sz="1400" b="0" dirty="0" smtClean="0">
                      <a:latin typeface="Impact" pitchFamily="34" charset="0"/>
                      <a:cs typeface="Arial" charset="0"/>
                    </a:rPr>
                    <a:t>.</a:t>
                  </a:r>
                  <a:r>
                    <a:rPr lang="en-US" sz="1400" b="0" dirty="0" smtClean="0">
                      <a:latin typeface="Impact" pitchFamily="34" charset="0"/>
                      <a:cs typeface="Arial" charset="0"/>
                    </a:rPr>
                    <a:t> tons</a:t>
                  </a:r>
                  <a:endParaRPr lang="ru-RU" sz="1400" b="0" dirty="0">
                    <a:latin typeface="Impact" pitchFamily="34" charset="0"/>
                    <a:cs typeface="Arial" charset="0"/>
                  </a:endParaRPr>
                </a:p>
              </p:txBody>
            </p:sp>
          </p:grpSp>
          <p:grpSp>
            <p:nvGrpSpPr>
              <p:cNvPr id="14" name="Группа 38"/>
              <p:cNvGrpSpPr>
                <a:grpSpLocks/>
              </p:cNvGrpSpPr>
              <p:nvPr/>
            </p:nvGrpSpPr>
            <p:grpSpPr bwMode="auto">
              <a:xfrm>
                <a:off x="1959089" y="1518188"/>
                <a:ext cx="1400733" cy="1525873"/>
                <a:chOff x="1878258" y="1518188"/>
                <a:chExt cx="1400733" cy="1525873"/>
              </a:xfrm>
            </p:grpSpPr>
            <p:pic>
              <p:nvPicPr>
                <p:cNvPr id="26658" name="Picture 7" descr="D:\For prezentations\arrows\up.png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rcRect/>
                <a:stretch>
                  <a:fillRect/>
                </a:stretch>
              </p:blipFill>
              <p:spPr bwMode="auto">
                <a:xfrm>
                  <a:off x="2171074" y="2232543"/>
                  <a:ext cx="811518" cy="81151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43" name="Прямоугольник 42"/>
                <p:cNvSpPr/>
                <p:nvPr/>
              </p:nvSpPr>
              <p:spPr>
                <a:xfrm>
                  <a:off x="1878258" y="1518188"/>
                  <a:ext cx="1400733" cy="63882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600" dirty="0" smtClean="0">
                      <a:solidFill>
                        <a:srgbClr val="0070C0"/>
                      </a:solidFill>
                      <a:latin typeface="Impact" pitchFamily="34" charset="0"/>
                      <a:cs typeface="Arial" charset="0"/>
                    </a:rPr>
                    <a:t>For about </a:t>
                  </a:r>
                  <a:r>
                    <a:rPr lang="ru-RU" sz="1600" dirty="0" smtClean="0">
                      <a:solidFill>
                        <a:srgbClr val="0070C0"/>
                      </a:solidFill>
                      <a:latin typeface="Impact" pitchFamily="34" charset="0"/>
                      <a:cs typeface="Arial" charset="0"/>
                    </a:rPr>
                    <a:t>2 </a:t>
                  </a:r>
                  <a:endParaRPr lang="ru-RU" sz="1400" dirty="0">
                    <a:solidFill>
                      <a:srgbClr val="0070C0"/>
                    </a:solidFill>
                    <a:latin typeface="Impact" pitchFamily="34" charset="0"/>
                    <a:cs typeface="Arial" charset="0"/>
                  </a:endParaRPr>
                </a:p>
                <a:p>
                  <a:pPr algn="ctr">
                    <a:defRPr/>
                  </a:pPr>
                  <a:r>
                    <a:rPr lang="en-US" sz="1400" dirty="0" err="1" smtClean="0">
                      <a:latin typeface="Impact" pitchFamily="34" charset="0"/>
                      <a:cs typeface="Arial" charset="0"/>
                    </a:rPr>
                    <a:t>bln</a:t>
                  </a:r>
                  <a:r>
                    <a:rPr lang="ru-RU" sz="1400" b="0" dirty="0" smtClean="0">
                      <a:latin typeface="Impact" pitchFamily="34" charset="0"/>
                      <a:cs typeface="Arial" charset="0"/>
                    </a:rPr>
                    <a:t>.</a:t>
                  </a:r>
                  <a:r>
                    <a:rPr lang="en-US" sz="1400" b="0" dirty="0" smtClean="0">
                      <a:latin typeface="Impact" pitchFamily="34" charset="0"/>
                      <a:cs typeface="Arial" charset="0"/>
                    </a:rPr>
                    <a:t> US dollars</a:t>
                  </a:r>
                  <a:endParaRPr lang="ru-RU" sz="1400" b="0" dirty="0">
                    <a:latin typeface="Impact" pitchFamily="34" charset="0"/>
                    <a:cs typeface="Arial" charset="0"/>
                  </a:endParaRPr>
                </a:p>
              </p:txBody>
            </p:sp>
          </p:grpSp>
        </p:grpSp>
        <p:sp>
          <p:nvSpPr>
            <p:cNvPr id="55" name="Прямоугольник 54"/>
            <p:cNvSpPr/>
            <p:nvPr/>
          </p:nvSpPr>
          <p:spPr>
            <a:xfrm>
              <a:off x="4075291" y="6276470"/>
              <a:ext cx="1061730" cy="5323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4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Twice</a:t>
              </a:r>
              <a:endParaRPr lang="ru-RU" sz="2400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3857080" y="4909031"/>
              <a:ext cx="1500440" cy="35490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400" b="0" dirty="0" smtClean="0">
                  <a:latin typeface="Impact" pitchFamily="34" charset="0"/>
                </a:rPr>
                <a:t>Transit</a:t>
              </a:r>
              <a:endParaRPr lang="ru-RU" sz="1400" b="0" dirty="0">
                <a:latin typeface="Impact" pitchFamily="34" charset="0"/>
              </a:endParaRPr>
            </a:p>
          </p:txBody>
        </p:sp>
      </p:grpSp>
      <p:grpSp>
        <p:nvGrpSpPr>
          <p:cNvPr id="15" name="Группа 59"/>
          <p:cNvGrpSpPr>
            <a:grpSpLocks/>
          </p:cNvGrpSpPr>
          <p:nvPr/>
        </p:nvGrpSpPr>
        <p:grpSpPr bwMode="auto">
          <a:xfrm>
            <a:off x="125797" y="3006074"/>
            <a:ext cx="2358691" cy="1323407"/>
            <a:chOff x="6000757" y="4691907"/>
            <a:chExt cx="2874717" cy="1488647"/>
          </a:xfrm>
          <a:noFill/>
        </p:grpSpPr>
        <p:grpSp>
          <p:nvGrpSpPr>
            <p:cNvPr id="16" name="Группа 17"/>
            <p:cNvGrpSpPr>
              <a:grpSpLocks/>
            </p:cNvGrpSpPr>
            <p:nvPr/>
          </p:nvGrpSpPr>
          <p:grpSpPr bwMode="auto">
            <a:xfrm>
              <a:off x="6000757" y="4714884"/>
              <a:ext cx="2874717" cy="1465670"/>
              <a:chOff x="1344197" y="3955694"/>
              <a:chExt cx="2874717" cy="1465670"/>
            </a:xfrm>
            <a:grpFill/>
          </p:grpSpPr>
          <p:grpSp>
            <p:nvGrpSpPr>
              <p:cNvPr id="17" name="Группа 15"/>
              <p:cNvGrpSpPr>
                <a:grpSpLocks/>
              </p:cNvGrpSpPr>
              <p:nvPr/>
            </p:nvGrpSpPr>
            <p:grpSpPr bwMode="auto">
              <a:xfrm>
                <a:off x="1344197" y="3955694"/>
                <a:ext cx="1081435" cy="1177141"/>
                <a:chOff x="2553378" y="3568223"/>
                <a:chExt cx="1277973" cy="1391072"/>
              </a:xfrm>
              <a:grpFill/>
            </p:grpSpPr>
            <p:pic>
              <p:nvPicPr>
                <p:cNvPr id="26644" name="Picture 10" descr="D:\For prezentations\peoples\design_team_256.png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2553378" y="3568223"/>
                  <a:ext cx="1277973" cy="127797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6645" name="Picture 8" descr="D:\For prezentations\peoples\User.png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2741599" y="3992995"/>
                  <a:ext cx="966299" cy="966300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18" name="Группа 16"/>
              <p:cNvGrpSpPr>
                <a:grpSpLocks/>
              </p:cNvGrpSpPr>
              <p:nvPr/>
            </p:nvGrpSpPr>
            <p:grpSpPr bwMode="auto">
              <a:xfrm>
                <a:off x="1884918" y="4616805"/>
                <a:ext cx="2333996" cy="804559"/>
                <a:chOff x="2617567" y="4472789"/>
                <a:chExt cx="2333996" cy="804559"/>
              </a:xfrm>
              <a:grpFill/>
            </p:grpSpPr>
            <p:sp>
              <p:nvSpPr>
                <p:cNvPr id="53" name="Прямоугольник 52"/>
                <p:cNvSpPr/>
                <p:nvPr/>
              </p:nvSpPr>
              <p:spPr>
                <a:xfrm>
                  <a:off x="2862664" y="4515696"/>
                  <a:ext cx="2088899" cy="761652"/>
                </a:xfrm>
                <a:prstGeom prst="rect">
                  <a:avLst/>
                </a:prstGeom>
                <a:grpFill/>
              </p:spPr>
              <p:txBody>
                <a:bodyPr wrap="none">
                  <a:spAutoFit/>
                </a:bodyPr>
                <a:lstStyle/>
                <a:p>
                  <a:pPr>
                    <a:defRPr/>
                  </a:pPr>
                  <a:r>
                    <a:rPr lang="ru-RU" sz="2400" dirty="0">
                      <a:solidFill>
                        <a:srgbClr val="0070C0"/>
                      </a:solidFill>
                      <a:latin typeface="Impact" pitchFamily="34" charset="0"/>
                      <a:cs typeface="Arial" charset="0"/>
                    </a:rPr>
                    <a:t>     220 </a:t>
                  </a:r>
                  <a:r>
                    <a:rPr lang="en-US" sz="1400" b="0" dirty="0" smtClean="0">
                      <a:latin typeface="Impact" pitchFamily="34" charset="0"/>
                      <a:cs typeface="Arial" charset="0"/>
                    </a:rPr>
                    <a:t>thousand </a:t>
                  </a:r>
                </a:p>
                <a:p>
                  <a:pPr>
                    <a:defRPr/>
                  </a:pPr>
                  <a:r>
                    <a:rPr lang="en-US" sz="1400" dirty="0" smtClean="0">
                      <a:latin typeface="Impact" pitchFamily="34" charset="0"/>
                      <a:cs typeface="Arial" charset="0"/>
                    </a:rPr>
                    <a:t>	</a:t>
                  </a:r>
                  <a:r>
                    <a:rPr lang="en-US" sz="1400" b="0" dirty="0" smtClean="0">
                      <a:latin typeface="Impact" pitchFamily="34" charset="0"/>
                      <a:cs typeface="Arial" charset="0"/>
                    </a:rPr>
                    <a:t>people</a:t>
                  </a:r>
                  <a:endParaRPr lang="ru-RU" sz="1400" b="0" dirty="0">
                    <a:latin typeface="Impact" pitchFamily="34" charset="0"/>
                    <a:cs typeface="Arial" charset="0"/>
                  </a:endParaRPr>
                </a:p>
              </p:txBody>
            </p:sp>
            <p:pic>
              <p:nvPicPr>
                <p:cNvPr id="26643" name="Picture 9" descr="D:\For prezentations\arrows\edit_add.png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2617567" y="4472789"/>
                  <a:ext cx="601637" cy="601637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sp>
          <p:nvSpPr>
            <p:cNvPr id="26639" name="Прямоугольник 57"/>
            <p:cNvSpPr>
              <a:spLocks noChangeArrowheads="1"/>
            </p:cNvSpPr>
            <p:nvPr/>
          </p:nvSpPr>
          <p:spPr bwMode="auto">
            <a:xfrm>
              <a:off x="7072324" y="4691907"/>
              <a:ext cx="1714511" cy="7270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0" dirty="0" smtClean="0">
                  <a:solidFill>
                    <a:srgbClr val="000000"/>
                  </a:solidFill>
                  <a:latin typeface="Impact" pitchFamily="34" charset="0"/>
                  <a:cs typeface="Arial" charset="0"/>
                </a:rPr>
                <a:t>On period of realization of project</a:t>
              </a:r>
              <a:endParaRPr lang="ru-RU" sz="1200" b="0" dirty="0">
                <a:solidFill>
                  <a:srgbClr val="000000"/>
                </a:solidFill>
                <a:latin typeface="Impact" pitchFamily="34" charset="0"/>
                <a:cs typeface="Arial" charset="0"/>
              </a:endParaRPr>
            </a:p>
          </p:txBody>
        </p:sp>
      </p:grpSp>
      <p:sp>
        <p:nvSpPr>
          <p:cNvPr id="69" name="Прямоугольник 9"/>
          <p:cNvSpPr>
            <a:spLocks noChangeArrowheads="1"/>
          </p:cNvSpPr>
          <p:nvPr/>
        </p:nvSpPr>
        <p:spPr bwMode="auto">
          <a:xfrm>
            <a:off x="6804025" y="2392709"/>
            <a:ext cx="2339975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buClr>
                <a:srgbClr val="0070C0"/>
              </a:buClr>
              <a:defRPr/>
            </a:pPr>
            <a: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100%</a:t>
            </a:r>
            <a:r>
              <a:rPr lang="ru-RU" sz="20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br>
              <a:rPr lang="ru-RU" sz="20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</a:b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ensuring transfer of all types of freights through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Aktau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port</a:t>
            </a:r>
          </a:p>
          <a:p>
            <a:pPr algn="r">
              <a:buClr>
                <a:srgbClr val="0070C0"/>
              </a:buClr>
              <a:defRPr/>
            </a:pPr>
            <a:endParaRPr lang="ru-RU" sz="1400" dirty="0">
              <a:solidFill>
                <a:schemeClr val="accent1">
                  <a:lumMod val="50000"/>
                </a:scheme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82" name="Номер слайда 47"/>
          <p:cNvSpPr txBox="1">
            <a:spLocks noGrp="1"/>
          </p:cNvSpPr>
          <p:nvPr/>
        </p:nvSpPr>
        <p:spPr bwMode="auto">
          <a:xfrm>
            <a:off x="8783638" y="6665913"/>
            <a:ext cx="4032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62" tIns="45684" rIns="91362" bIns="45684" anchor="ctr"/>
          <a:lstStyle/>
          <a:p>
            <a:pPr algn="r">
              <a:defRPr/>
            </a:pPr>
            <a:endParaRPr lang="ru-RU" sz="105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10" name="Прямоугольник 9"/>
          <p:cNvSpPr>
            <a:spLocks noChangeArrowheads="1"/>
          </p:cNvSpPr>
          <p:nvPr/>
        </p:nvSpPr>
        <p:spPr bwMode="auto">
          <a:xfrm>
            <a:off x="6443663" y="986184"/>
            <a:ext cx="2628900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100 %</a:t>
            </a:r>
            <a:b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</a:b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of bus stations,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autostations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, railway stations will conform to standards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11" name="Прямоугольник 9"/>
          <p:cNvSpPr>
            <a:spLocks noChangeArrowheads="1"/>
          </p:cNvSpPr>
          <p:nvPr/>
        </p:nvSpPr>
        <p:spPr bwMode="auto">
          <a:xfrm>
            <a:off x="6769100" y="3545234"/>
            <a:ext cx="2339975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100%</a:t>
            </a:r>
            <a:r>
              <a:rPr lang="ru-RU" sz="14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endParaRPr lang="en-US" sz="1400" dirty="0" smtClean="0">
              <a:solidFill>
                <a:srgbClr val="C00000"/>
              </a:solidFill>
              <a:latin typeface="Impact" pitchFamily="34" charset="0"/>
              <a:cs typeface="Arial" charset="0"/>
            </a:endParaRPr>
          </a:p>
          <a:p>
            <a:pPr algn="r">
              <a:defRPr/>
            </a:pP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of the airports of the regional centers,  Astana,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Almaty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,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Semey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and </a:t>
            </a:r>
            <a:r>
              <a:rPr lang="en-US" sz="1400" dirty="0" err="1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Zhezkazgan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will conform to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ICAO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requirements </a:t>
            </a:r>
          </a:p>
          <a:p>
            <a:pPr algn="r">
              <a:defRPr/>
            </a:pPr>
            <a:endParaRPr lang="ru-RU" sz="1400" dirty="0">
              <a:solidFill>
                <a:srgbClr val="C00000"/>
              </a:solidFill>
              <a:latin typeface="Impact" pitchFamily="34" charset="0"/>
              <a:cs typeface="Arial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045758" y="4634244"/>
            <a:ext cx="2705666" cy="1171020"/>
            <a:chOff x="2587059" y="4787900"/>
            <a:chExt cx="2705666" cy="1171020"/>
          </a:xfrm>
        </p:grpSpPr>
        <p:sp>
          <p:nvSpPr>
            <p:cNvPr id="62" name="Прямоугольник 61"/>
            <p:cNvSpPr/>
            <p:nvPr/>
          </p:nvSpPr>
          <p:spPr bwMode="auto">
            <a:xfrm>
              <a:off x="2587059" y="4954816"/>
              <a:ext cx="2165978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400" b="0" dirty="0" smtClean="0">
                  <a:latin typeface="Impact" pitchFamily="34" charset="0"/>
                  <a:cs typeface="Arial" charset="0"/>
                </a:rPr>
                <a:t>Increase of goods turnover</a:t>
              </a:r>
              <a:endParaRPr lang="ru-RU" sz="1400" b="0" dirty="0">
                <a:latin typeface="Impact" pitchFamily="34" charset="0"/>
                <a:cs typeface="Arial" charset="0"/>
              </a:endParaRPr>
            </a:p>
            <a:p>
              <a:pPr algn="ctr">
                <a:defRPr/>
              </a:pPr>
              <a:r>
                <a:rPr lang="ru-RU" sz="1400" b="0" dirty="0" smtClean="0">
                  <a:latin typeface="Impact" pitchFamily="34" charset="0"/>
                  <a:cs typeface="Arial" charset="0"/>
                </a:rPr>
                <a:t>(</a:t>
              </a:r>
              <a:r>
                <a:rPr lang="en-US" sz="1400" b="0" dirty="0" err="1" smtClean="0">
                  <a:latin typeface="Impact" pitchFamily="34" charset="0"/>
                  <a:cs typeface="Arial" charset="0"/>
                </a:rPr>
                <a:t>bln</a:t>
              </a:r>
              <a:r>
                <a:rPr lang="ru-RU" sz="1400" b="0" dirty="0" smtClean="0">
                  <a:latin typeface="Impact" pitchFamily="34" charset="0"/>
                  <a:cs typeface="Arial" charset="0"/>
                </a:rPr>
                <a:t>. </a:t>
              </a:r>
              <a:r>
                <a:rPr lang="en-US" sz="1400" b="0" dirty="0" err="1" smtClean="0">
                  <a:latin typeface="Impact" pitchFamily="34" charset="0"/>
                  <a:cs typeface="Arial" charset="0"/>
                </a:rPr>
                <a:t>tkm</a:t>
              </a:r>
              <a:r>
                <a:rPr lang="ru-RU" sz="1400" b="0" dirty="0" smtClean="0">
                  <a:latin typeface="Impact" pitchFamily="34" charset="0"/>
                  <a:cs typeface="Arial" charset="0"/>
                </a:rPr>
                <a:t>)</a:t>
              </a:r>
              <a:endParaRPr lang="ru-RU" sz="1400" b="0" dirty="0">
                <a:latin typeface="Impact" pitchFamily="34" charset="0"/>
                <a:cs typeface="Arial" charset="0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 bwMode="auto">
            <a:xfrm>
              <a:off x="4716463" y="5589588"/>
              <a:ext cx="50911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800" dirty="0">
                  <a:solidFill>
                    <a:srgbClr val="C00000"/>
                  </a:solidFill>
                  <a:latin typeface="Impact" pitchFamily="34" charset="0"/>
                  <a:cs typeface="Arial" charset="0"/>
                </a:rPr>
                <a:t>478</a:t>
              </a:r>
            </a:p>
          </p:txBody>
        </p:sp>
        <p:pic>
          <p:nvPicPr>
            <p:cNvPr id="26638" name="Picture 7" descr="D:\For prezentations\arrows\up.png"/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4716463" y="5084763"/>
              <a:ext cx="576262" cy="576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" name="Прямоугольник 64"/>
            <p:cNvSpPr/>
            <p:nvPr/>
          </p:nvSpPr>
          <p:spPr bwMode="auto">
            <a:xfrm>
              <a:off x="4716463" y="4787900"/>
              <a:ext cx="573087" cy="4000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788</a:t>
              </a:r>
            </a:p>
          </p:txBody>
        </p:sp>
        <p:sp>
          <p:nvSpPr>
            <p:cNvPr id="74" name="Прямоугольник 73"/>
            <p:cNvSpPr/>
            <p:nvPr/>
          </p:nvSpPr>
          <p:spPr bwMode="auto">
            <a:xfrm>
              <a:off x="3285077" y="5454878"/>
              <a:ext cx="1008063" cy="3079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1,6 </a:t>
              </a:r>
              <a:r>
                <a:rPr lang="en-US" sz="14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times</a:t>
              </a:r>
              <a:endParaRPr lang="ru-RU" sz="1400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3650813" y="5714364"/>
            <a:ext cx="3297451" cy="1171020"/>
            <a:chOff x="3362781" y="5714364"/>
            <a:chExt cx="3297451" cy="1171020"/>
          </a:xfrm>
        </p:grpSpPr>
        <p:sp>
          <p:nvSpPr>
            <p:cNvPr id="66" name="Прямоугольник 65"/>
            <p:cNvSpPr/>
            <p:nvPr/>
          </p:nvSpPr>
          <p:spPr bwMode="auto">
            <a:xfrm>
              <a:off x="3362781" y="5930900"/>
              <a:ext cx="2499403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400" dirty="0" smtClean="0">
                  <a:latin typeface="Impact" pitchFamily="34" charset="0"/>
                  <a:cs typeface="Arial" charset="0"/>
                </a:rPr>
                <a:t>Increase of passenger turnover</a:t>
              </a:r>
              <a:endParaRPr lang="ru-RU" sz="1400" dirty="0" smtClean="0">
                <a:latin typeface="Impact" pitchFamily="34" charset="0"/>
                <a:cs typeface="Arial" charset="0"/>
              </a:endParaRPr>
            </a:p>
            <a:p>
              <a:pPr algn="ctr">
                <a:defRPr/>
              </a:pPr>
              <a:r>
                <a:rPr lang="ru-RU" sz="1400" dirty="0" smtClean="0">
                  <a:latin typeface="Impact" pitchFamily="34" charset="0"/>
                  <a:cs typeface="Arial" charset="0"/>
                </a:rPr>
                <a:t>(</a:t>
              </a:r>
              <a:r>
                <a:rPr lang="en-US" sz="1400" dirty="0" err="1" smtClean="0">
                  <a:latin typeface="Impact" pitchFamily="34" charset="0"/>
                  <a:cs typeface="Arial" charset="0"/>
                </a:rPr>
                <a:t>bln</a:t>
              </a:r>
              <a:r>
                <a:rPr lang="ru-RU" sz="1400" dirty="0" smtClean="0">
                  <a:latin typeface="Impact" pitchFamily="34" charset="0"/>
                  <a:cs typeface="Arial" charset="0"/>
                </a:rPr>
                <a:t>. </a:t>
              </a:r>
              <a:r>
                <a:rPr lang="en-US" sz="1400" dirty="0" err="1" smtClean="0">
                  <a:latin typeface="Impact" pitchFamily="34" charset="0"/>
                  <a:cs typeface="Arial" charset="0"/>
                </a:rPr>
                <a:t>tkm</a:t>
              </a:r>
              <a:r>
                <a:rPr lang="ru-RU" sz="1400" dirty="0" smtClean="0">
                  <a:latin typeface="Impact" pitchFamily="34" charset="0"/>
                  <a:cs typeface="Arial" charset="0"/>
                </a:rPr>
                <a:t>)</a:t>
              </a:r>
              <a:endParaRPr lang="ru-RU" sz="1400" dirty="0">
                <a:latin typeface="Impact" pitchFamily="34" charset="0"/>
                <a:cs typeface="Arial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 bwMode="auto">
            <a:xfrm>
              <a:off x="5890294" y="6516052"/>
              <a:ext cx="63671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800" dirty="0">
                  <a:solidFill>
                    <a:srgbClr val="C00000"/>
                  </a:solidFill>
                  <a:latin typeface="Impact" pitchFamily="34" charset="0"/>
                  <a:cs typeface="Arial" charset="0"/>
                </a:rPr>
                <a:t>231,1</a:t>
              </a:r>
            </a:p>
          </p:txBody>
        </p:sp>
        <p:pic>
          <p:nvPicPr>
            <p:cNvPr id="26642" name="Picture 7" descr="D:\For prezentations\arrows\up.png"/>
            <p:cNvPicPr>
              <a:picLocks noChangeAspect="1" noChangeArrowheads="1"/>
            </p:cNvPicPr>
            <p:nvPr/>
          </p:nvPicPr>
          <p:blipFill>
            <a:blip r:embed="rId1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958534" y="6026462"/>
              <a:ext cx="576263" cy="576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0" name="Прямоугольник 69"/>
            <p:cNvSpPr/>
            <p:nvPr/>
          </p:nvSpPr>
          <p:spPr bwMode="auto">
            <a:xfrm>
              <a:off x="5890294" y="5714364"/>
              <a:ext cx="769938" cy="40005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2000" dirty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345,8</a:t>
              </a:r>
            </a:p>
          </p:txBody>
        </p:sp>
        <p:sp>
          <p:nvSpPr>
            <p:cNvPr id="75" name="Прямоугольник 74"/>
            <p:cNvSpPr/>
            <p:nvPr/>
          </p:nvSpPr>
          <p:spPr bwMode="auto">
            <a:xfrm>
              <a:off x="4183063" y="6361113"/>
              <a:ext cx="1008062" cy="30777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1,5 </a:t>
              </a:r>
              <a:r>
                <a:rPr lang="en-US" sz="1400" dirty="0" smtClean="0">
                  <a:solidFill>
                    <a:srgbClr val="0070C0"/>
                  </a:solidFill>
                  <a:latin typeface="Impact" pitchFamily="34" charset="0"/>
                  <a:cs typeface="Arial" charset="0"/>
                </a:rPr>
                <a:t>times</a:t>
              </a:r>
              <a:endParaRPr lang="ru-RU" sz="1400" dirty="0">
                <a:solidFill>
                  <a:srgbClr val="0070C0"/>
                </a:solidFill>
                <a:latin typeface="Impact" pitchFamily="34" charset="0"/>
                <a:cs typeface="Arial" charset="0"/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2411760" y="683985"/>
            <a:ext cx="4587875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Reconstruction and repair of 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30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thousand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km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of </a:t>
            </a:r>
            <a:b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</a:b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motor roads and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5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,6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thousand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km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of railways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Impact" pitchFamily="34" charset="0"/>
              <a:cs typeface="Arial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rot="10800000">
            <a:off x="6858000" y="2201526"/>
            <a:ext cx="2214563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2555776" y="2204864"/>
            <a:ext cx="4104357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Realization of about </a:t>
            </a:r>
            <a:r>
              <a:rPr lang="ru-RU" sz="2400" dirty="0" smtClean="0">
                <a:solidFill>
                  <a:srgbClr val="006600"/>
                </a:solidFill>
                <a:latin typeface="Impact" pitchFamily="34" charset="0"/>
                <a:cs typeface="Arial" charset="0"/>
              </a:rPr>
              <a:t>200</a:t>
            </a:r>
            <a:r>
              <a:rPr lang="ru-RU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projects</a:t>
            </a:r>
            <a:r>
              <a:rPr lang="ru-RU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, </a:t>
            </a:r>
            <a:r>
              <a:rPr lang="en-US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for </a:t>
            </a:r>
            <a:r>
              <a:rPr lang="ru-RU" sz="2400" dirty="0" smtClean="0">
                <a:solidFill>
                  <a:srgbClr val="006600"/>
                </a:solidFill>
                <a:latin typeface="Impact" pitchFamily="34" charset="0"/>
                <a:cs typeface="Arial" charset="0"/>
              </a:rPr>
              <a:t>28,6</a:t>
            </a:r>
            <a:r>
              <a:rPr lang="ru-RU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dirty="0" err="1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bln</a:t>
            </a:r>
            <a:r>
              <a:rPr lang="en-US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. US dollars</a:t>
            </a:r>
            <a:endParaRPr lang="ru-RU" dirty="0" smtClean="0">
              <a:solidFill>
                <a:srgbClr val="C00000"/>
              </a:solidFill>
              <a:latin typeface="Impact" pitchFamily="34" charset="0"/>
              <a:cs typeface="Arial" charset="0"/>
            </a:endParaRPr>
          </a:p>
          <a:p>
            <a:pPr algn="just">
              <a:defRPr/>
            </a:pPr>
            <a:endParaRPr lang="ru-RU" sz="500" dirty="0" smtClean="0">
              <a:solidFill>
                <a:srgbClr val="C00000"/>
              </a:solidFill>
              <a:latin typeface="Impact" pitchFamily="34" charset="0"/>
              <a:cs typeface="Arial" charset="0"/>
            </a:endParaRPr>
          </a:p>
          <a:p>
            <a:pPr>
              <a:defRPr/>
            </a:pP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Motor roads		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Impact" pitchFamily="34" charset="0"/>
                <a:cs typeface="Arial" charset="0"/>
              </a:rPr>
              <a:t>	      </a:t>
            </a: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$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 13 </a:t>
            </a:r>
            <a:r>
              <a:rPr lang="en-US" sz="1400" dirty="0" err="1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bl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.</a:t>
            </a:r>
            <a:endParaRPr lang="en-US" sz="1400" dirty="0" smtClean="0">
              <a:solidFill>
                <a:srgbClr val="003399"/>
              </a:solidFill>
              <a:latin typeface="Impact" pitchFamily="34" charset="0"/>
              <a:cs typeface="Arial" charset="0"/>
            </a:endParaRPr>
          </a:p>
          <a:p>
            <a:pPr>
              <a:defRPr/>
            </a:pP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Railway sector	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	      </a:t>
            </a: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$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 12,6 </a:t>
            </a:r>
            <a:r>
              <a:rPr lang="en-US" sz="1400" dirty="0" err="1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bl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.</a:t>
            </a:r>
          </a:p>
          <a:p>
            <a:pPr>
              <a:defRPr/>
            </a:pP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Civil aviatio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		      </a:t>
            </a: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$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 2,4 </a:t>
            </a:r>
            <a:r>
              <a:rPr lang="en-US" sz="1400" dirty="0" err="1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bl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.</a:t>
            </a:r>
          </a:p>
          <a:p>
            <a:pPr>
              <a:defRPr/>
            </a:pP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Water transport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		      </a:t>
            </a: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$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 0,57 </a:t>
            </a:r>
            <a:r>
              <a:rPr lang="en-US" sz="1400" dirty="0" err="1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bl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.</a:t>
            </a:r>
          </a:p>
          <a:p>
            <a:pPr>
              <a:defRPr/>
            </a:pP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Automobile transport	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	      </a:t>
            </a:r>
            <a:r>
              <a:rPr lang="en-US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$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 12 </a:t>
            </a:r>
            <a:r>
              <a:rPr lang="en-US" sz="1400" dirty="0" err="1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mln</a:t>
            </a:r>
            <a:r>
              <a:rPr lang="ru-RU" sz="1400" dirty="0" smtClean="0">
                <a:solidFill>
                  <a:srgbClr val="003399"/>
                </a:solidFill>
                <a:latin typeface="Impact" pitchFamily="34" charset="0"/>
                <a:cs typeface="Arial" charset="0"/>
              </a:rPr>
              <a:t>.</a:t>
            </a:r>
            <a:endParaRPr lang="en-US" sz="1400" dirty="0" smtClean="0">
              <a:solidFill>
                <a:srgbClr val="003399"/>
              </a:solidFill>
              <a:latin typeface="Impact" pitchFamily="34" charset="0"/>
              <a:cs typeface="Arial" charset="0"/>
            </a:endParaRPr>
          </a:p>
          <a:p>
            <a:pPr algn="ctr">
              <a:defRPr/>
            </a:pPr>
            <a:endParaRPr lang="ru-RU" sz="1400" dirty="0">
              <a:solidFill>
                <a:srgbClr val="C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85" name="TextBox 1"/>
          <p:cNvSpPr txBox="1">
            <a:spLocks noChangeArrowheads="1"/>
          </p:cNvSpPr>
          <p:nvPr/>
        </p:nvSpPr>
        <p:spPr bwMode="auto">
          <a:xfrm>
            <a:off x="6831321" y="5200997"/>
            <a:ext cx="223202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r">
              <a:defRPr/>
            </a:pPr>
            <a:r>
              <a:rPr lang="ru-RU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100</a:t>
            </a:r>
            <a:r>
              <a:rPr lang="en-US" sz="1600" dirty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%</a:t>
            </a:r>
            <a:r>
              <a:rPr lang="en-US" sz="1600" b="0" dirty="0">
                <a:solidFill>
                  <a:schemeClr val="tx2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  <a:latin typeface="Impact" pitchFamily="34" charset="0"/>
                <a:cs typeface="Arial" charset="0"/>
              </a:rPr>
              <a:t>ensuring requirement of economy in TLC of A class </a:t>
            </a:r>
          </a:p>
          <a:p>
            <a:pPr algn="r">
              <a:defRPr/>
            </a:pPr>
            <a:endParaRPr lang="ru-RU" sz="1400" dirty="0">
              <a:solidFill>
                <a:schemeClr val="accent1">
                  <a:lumMod val="50000"/>
                </a:schemeClr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64" name="Пятиугольник 63"/>
          <p:cNvSpPr/>
          <p:nvPr/>
        </p:nvSpPr>
        <p:spPr>
          <a:xfrm>
            <a:off x="0" y="116632"/>
            <a:ext cx="7956376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eaLnBrk="0" hangingPunct="0">
              <a:lnSpc>
                <a:spcPts val="1300"/>
              </a:lnSpc>
            </a:pPr>
            <a:r>
              <a:rPr lang="en-US" sz="2000" dirty="0" smtClean="0">
                <a:latin typeface="Impact" pitchFamily="34" charset="0"/>
              </a:rPr>
              <a:t>Economic efficiency of development of transport sector</a:t>
            </a: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 rot="10800000">
            <a:off x="6876256" y="3511807"/>
            <a:ext cx="2214563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 rot="10800000">
            <a:off x="6893941" y="5067518"/>
            <a:ext cx="2214563" cy="0"/>
          </a:xfrm>
          <a:prstGeom prst="line">
            <a:avLst/>
          </a:prstGeom>
          <a:ln w="63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Овал 72"/>
          <p:cNvSpPr/>
          <p:nvPr/>
        </p:nvSpPr>
        <p:spPr>
          <a:xfrm>
            <a:off x="8676456" y="6590660"/>
            <a:ext cx="442934" cy="26734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Impact" pitchFamily="34" charset="0"/>
              </a:rPr>
              <a:t>11</a:t>
            </a:r>
            <a:endParaRPr lang="ru-RU" sz="1000" dirty="0">
              <a:latin typeface="Impact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0" y="-1"/>
            <a:ext cx="9144000" cy="6867660"/>
            <a:chOff x="0" y="-1"/>
            <a:chExt cx="9144000" cy="6867660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>
            <a:blip r:embed="rId2" cstate="print">
              <a:grayscl/>
              <a:lum bright="3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astelsSmooth/>
                      </a14:imgEffect>
                    </a14:imgLayer>
                  </a14:imgProps>
                </a:ext>
              </a:extLst>
            </a:blip>
            <a:srcRect r="1176" b="1638"/>
            <a:stretch>
              <a:fillRect/>
            </a:stretch>
          </p:blipFill>
          <p:spPr bwMode="auto">
            <a:xfrm>
              <a:off x="0" y="-1"/>
              <a:ext cx="9144000" cy="6858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Выгнутая вниз стрелка 10"/>
            <p:cNvSpPr/>
            <p:nvPr/>
          </p:nvSpPr>
          <p:spPr>
            <a:xfrm rot="15536300" flipH="1">
              <a:off x="3589941" y="2449964"/>
              <a:ext cx="5323272" cy="2066333"/>
            </a:xfrm>
            <a:prstGeom prst="curvedUpArrow">
              <a:avLst/>
            </a:prstGeom>
            <a:solidFill>
              <a:srgbClr val="0066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2" name="Выгнутая вниз стрелка 11"/>
            <p:cNvSpPr/>
            <p:nvPr/>
          </p:nvSpPr>
          <p:spPr>
            <a:xfrm rot="4729086" flipH="1">
              <a:off x="-57306" y="2089494"/>
              <a:ext cx="5323272" cy="2066333"/>
            </a:xfrm>
            <a:prstGeom prst="curvedUpArrow">
              <a:avLst/>
            </a:prstGeom>
            <a:solidFill>
              <a:srgbClr val="FF99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pic>
          <p:nvPicPr>
            <p:cNvPr id="1026" name="Picture 2" descr="C:\Documents and Settings\medeubaeva_d\Рабочий стол\553px-Kazakhstan_(orthographic_projection).svg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75656" y="404664"/>
              <a:ext cx="5832648" cy="5832648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4" name="TextBox 3"/>
            <p:cNvSpPr txBox="1"/>
            <p:nvPr/>
          </p:nvSpPr>
          <p:spPr>
            <a:xfrm>
              <a:off x="2422646" y="3559632"/>
              <a:ext cx="403244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44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531230" y="6590660"/>
              <a:ext cx="15841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500298" y="1785926"/>
              <a:ext cx="3777074" cy="461665"/>
            </a:xfrm>
            <a:prstGeom prst="rect">
              <a:avLst/>
            </a:prstGeom>
            <a:solidFill>
              <a:srgbClr val="FF9900">
                <a:alpha val="60000"/>
              </a:srgb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hank You for attention</a:t>
              </a:r>
              <a:r>
                <a:rPr lang="ru-RU" sz="2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!</a:t>
              </a:r>
              <a:endParaRPr lang="ru-RU" sz="2800" dirty="0">
                <a:solidFill>
                  <a:srgbClr val="006600"/>
                </a:solidFill>
                <a:latin typeface="Impact" pitchFamily="34" charset="0"/>
              </a:endParaRPr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7061057" y="6642556"/>
            <a:ext cx="2082943" cy="21544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indent="449263" algn="just" eaLnBrk="0" hangingPunct="0"/>
            <a:r>
              <a:rPr lang="ru-RU" sz="800" b="1" dirty="0" smtClean="0">
                <a:solidFill>
                  <a:schemeClr val="bg1"/>
                </a:solidFill>
              </a:rPr>
              <a:t>Автор: Олжас Баржаксынов</a:t>
            </a:r>
            <a:endParaRPr lang="ru-RU" sz="8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35"/>
          <p:cNvGrpSpPr>
            <a:grpSpLocks/>
          </p:cNvGrpSpPr>
          <p:nvPr/>
        </p:nvGrpSpPr>
        <p:grpSpPr bwMode="auto">
          <a:xfrm>
            <a:off x="1979613" y="620713"/>
            <a:ext cx="7129462" cy="5184775"/>
            <a:chOff x="2736303" y="1209248"/>
            <a:chExt cx="6444209" cy="4524008"/>
          </a:xfrm>
        </p:grpSpPr>
        <p:pic>
          <p:nvPicPr>
            <p:cNvPr id="63497" name="Picture 2" descr="C:\Documents and Settings\kemengerov_m\Рабочий стол\Презентации\картинки\Карты\Евразия.pn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3541"/>
            <a:stretch>
              <a:fillRect/>
            </a:stretch>
          </p:blipFill>
          <p:spPr bwMode="auto">
            <a:xfrm>
              <a:off x="2736303" y="1209248"/>
              <a:ext cx="6444209" cy="4509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2" name="Овал 101"/>
            <p:cNvSpPr/>
            <p:nvPr/>
          </p:nvSpPr>
          <p:spPr>
            <a:xfrm rot="19504532">
              <a:off x="3217000" y="2023736"/>
              <a:ext cx="1414828" cy="74384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75600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103" name="Овал 102"/>
            <p:cNvSpPr/>
            <p:nvPr/>
          </p:nvSpPr>
          <p:spPr>
            <a:xfrm rot="949915">
              <a:off x="4250139" y="2965660"/>
              <a:ext cx="995832" cy="418325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75600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105" name="Овал 104"/>
            <p:cNvSpPr/>
            <p:nvPr/>
          </p:nvSpPr>
          <p:spPr>
            <a:xfrm rot="6950973">
              <a:off x="7483966" y="4130309"/>
              <a:ext cx="1572183" cy="736112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75600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106" name="Прямоугольник 105"/>
            <p:cNvSpPr/>
            <p:nvPr/>
          </p:nvSpPr>
          <p:spPr>
            <a:xfrm>
              <a:off x="2941862" y="1983368"/>
              <a:ext cx="630574" cy="2148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b="1" dirty="0" smtClean="0">
                  <a:solidFill>
                    <a:srgbClr val="006600"/>
                  </a:solidFill>
                  <a:latin typeface="Calibri" pitchFamily="34" charset="0"/>
                  <a:cs typeface="Arial" charset="0"/>
                </a:rPr>
                <a:t>Baltic Sea</a:t>
              </a:r>
              <a:endParaRPr lang="ru-RU" sz="1400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09" name="Прямоугольник 108"/>
            <p:cNvSpPr/>
            <p:nvPr/>
          </p:nvSpPr>
          <p:spPr>
            <a:xfrm>
              <a:off x="6956683" y="5045105"/>
              <a:ext cx="842117" cy="36254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 dirty="0" smtClean="0">
                  <a:solidFill>
                    <a:srgbClr val="006600"/>
                  </a:solidFill>
                  <a:latin typeface="+mn-lt"/>
                  <a:cs typeface="Arial" pitchFamily="34" charset="0"/>
                </a:rPr>
                <a:t>The Pacific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 dirty="0" smtClean="0">
                  <a:solidFill>
                    <a:srgbClr val="006600"/>
                  </a:solidFill>
                  <a:latin typeface="+mn-lt"/>
                  <a:cs typeface="Arial" pitchFamily="34" charset="0"/>
                </a:rPr>
                <a:t>Coast</a:t>
              </a:r>
            </a:p>
          </p:txBody>
        </p:sp>
        <p:sp>
          <p:nvSpPr>
            <p:cNvPr id="99" name="Полилиния 98"/>
            <p:cNvSpPr/>
            <p:nvPr/>
          </p:nvSpPr>
          <p:spPr>
            <a:xfrm>
              <a:off x="2790830" y="2609668"/>
              <a:ext cx="5815716" cy="3123588"/>
            </a:xfrm>
            <a:custGeom>
              <a:avLst/>
              <a:gdLst>
                <a:gd name="connsiteX0" fmla="*/ 5788660 w 5847080"/>
                <a:gd name="connsiteY0" fmla="*/ 1958340 h 3124200"/>
                <a:gd name="connsiteX1" fmla="*/ 5788660 w 5847080"/>
                <a:gd name="connsiteY1" fmla="*/ 2560320 h 3124200"/>
                <a:gd name="connsiteX2" fmla="*/ 5438140 w 5847080"/>
                <a:gd name="connsiteY2" fmla="*/ 2979420 h 3124200"/>
                <a:gd name="connsiteX3" fmla="*/ 4919980 w 5847080"/>
                <a:gd name="connsiteY3" fmla="*/ 3101340 h 3124200"/>
                <a:gd name="connsiteX4" fmla="*/ 4150360 w 5847080"/>
                <a:gd name="connsiteY4" fmla="*/ 3093720 h 3124200"/>
                <a:gd name="connsiteX5" fmla="*/ 3426460 w 5847080"/>
                <a:gd name="connsiteY5" fmla="*/ 2918460 h 3124200"/>
                <a:gd name="connsiteX6" fmla="*/ 2717800 w 5847080"/>
                <a:gd name="connsiteY6" fmla="*/ 2819400 h 3124200"/>
                <a:gd name="connsiteX7" fmla="*/ 2352040 w 5847080"/>
                <a:gd name="connsiteY7" fmla="*/ 2712720 h 3124200"/>
                <a:gd name="connsiteX8" fmla="*/ 2146300 w 5847080"/>
                <a:gd name="connsiteY8" fmla="*/ 2286000 h 3124200"/>
                <a:gd name="connsiteX9" fmla="*/ 1955800 w 5847080"/>
                <a:gd name="connsiteY9" fmla="*/ 1744980 h 3124200"/>
                <a:gd name="connsiteX10" fmla="*/ 1879600 w 5847080"/>
                <a:gd name="connsiteY10" fmla="*/ 1440180 h 3124200"/>
                <a:gd name="connsiteX11" fmla="*/ 1590040 w 5847080"/>
                <a:gd name="connsiteY11" fmla="*/ 1272540 h 3124200"/>
                <a:gd name="connsiteX12" fmla="*/ 889000 w 5847080"/>
                <a:gd name="connsiteY12" fmla="*/ 1242060 h 3124200"/>
                <a:gd name="connsiteX13" fmla="*/ 469900 w 5847080"/>
                <a:gd name="connsiteY13" fmla="*/ 1196340 h 3124200"/>
                <a:gd name="connsiteX14" fmla="*/ 134620 w 5847080"/>
                <a:gd name="connsiteY14" fmla="*/ 1173480 h 3124200"/>
                <a:gd name="connsiteX15" fmla="*/ 20320 w 5847080"/>
                <a:gd name="connsiteY15" fmla="*/ 1043940 h 3124200"/>
                <a:gd name="connsiteX16" fmla="*/ 12700 w 5847080"/>
                <a:gd name="connsiteY16" fmla="*/ 731520 h 3124200"/>
                <a:gd name="connsiteX17" fmla="*/ 81280 w 5847080"/>
                <a:gd name="connsiteY17" fmla="*/ 464820 h 3124200"/>
                <a:gd name="connsiteX18" fmla="*/ 233680 w 5847080"/>
                <a:gd name="connsiteY18" fmla="*/ 320040 h 3124200"/>
                <a:gd name="connsiteX19" fmla="*/ 447040 w 5847080"/>
                <a:gd name="connsiteY19" fmla="*/ 213360 h 3124200"/>
                <a:gd name="connsiteX20" fmla="*/ 652780 w 5847080"/>
                <a:gd name="connsiteY20" fmla="*/ 0 h 3124200"/>
                <a:gd name="connsiteX0" fmla="*/ 5740980 w 5839133"/>
                <a:gd name="connsiteY0" fmla="*/ 2101200 h 3124200"/>
                <a:gd name="connsiteX1" fmla="*/ 5788660 w 5839133"/>
                <a:gd name="connsiteY1" fmla="*/ 2560320 h 3124200"/>
                <a:gd name="connsiteX2" fmla="*/ 5438140 w 5839133"/>
                <a:gd name="connsiteY2" fmla="*/ 2979420 h 3124200"/>
                <a:gd name="connsiteX3" fmla="*/ 4919980 w 5839133"/>
                <a:gd name="connsiteY3" fmla="*/ 3101340 h 3124200"/>
                <a:gd name="connsiteX4" fmla="*/ 4150360 w 5839133"/>
                <a:gd name="connsiteY4" fmla="*/ 3093720 h 3124200"/>
                <a:gd name="connsiteX5" fmla="*/ 3426460 w 5839133"/>
                <a:gd name="connsiteY5" fmla="*/ 2918460 h 3124200"/>
                <a:gd name="connsiteX6" fmla="*/ 2717800 w 5839133"/>
                <a:gd name="connsiteY6" fmla="*/ 2819400 h 3124200"/>
                <a:gd name="connsiteX7" fmla="*/ 2352040 w 5839133"/>
                <a:gd name="connsiteY7" fmla="*/ 2712720 h 3124200"/>
                <a:gd name="connsiteX8" fmla="*/ 2146300 w 5839133"/>
                <a:gd name="connsiteY8" fmla="*/ 2286000 h 3124200"/>
                <a:gd name="connsiteX9" fmla="*/ 1955800 w 5839133"/>
                <a:gd name="connsiteY9" fmla="*/ 1744980 h 3124200"/>
                <a:gd name="connsiteX10" fmla="*/ 1879600 w 5839133"/>
                <a:gd name="connsiteY10" fmla="*/ 1440180 h 3124200"/>
                <a:gd name="connsiteX11" fmla="*/ 1590040 w 5839133"/>
                <a:gd name="connsiteY11" fmla="*/ 1272540 h 3124200"/>
                <a:gd name="connsiteX12" fmla="*/ 889000 w 5839133"/>
                <a:gd name="connsiteY12" fmla="*/ 1242060 h 3124200"/>
                <a:gd name="connsiteX13" fmla="*/ 469900 w 5839133"/>
                <a:gd name="connsiteY13" fmla="*/ 1196340 h 3124200"/>
                <a:gd name="connsiteX14" fmla="*/ 134620 w 5839133"/>
                <a:gd name="connsiteY14" fmla="*/ 1173480 h 3124200"/>
                <a:gd name="connsiteX15" fmla="*/ 20320 w 5839133"/>
                <a:gd name="connsiteY15" fmla="*/ 1043940 h 3124200"/>
                <a:gd name="connsiteX16" fmla="*/ 12700 w 5839133"/>
                <a:gd name="connsiteY16" fmla="*/ 731520 h 3124200"/>
                <a:gd name="connsiteX17" fmla="*/ 81280 w 5839133"/>
                <a:gd name="connsiteY17" fmla="*/ 464820 h 3124200"/>
                <a:gd name="connsiteX18" fmla="*/ 233680 w 5839133"/>
                <a:gd name="connsiteY18" fmla="*/ 320040 h 3124200"/>
                <a:gd name="connsiteX19" fmla="*/ 447040 w 5839133"/>
                <a:gd name="connsiteY19" fmla="*/ 213360 h 3124200"/>
                <a:gd name="connsiteX20" fmla="*/ 652780 w 5839133"/>
                <a:gd name="connsiteY20" fmla="*/ 0 h 3124200"/>
                <a:gd name="connsiteX0" fmla="*/ 5740980 w 5815131"/>
                <a:gd name="connsiteY0" fmla="*/ 2101200 h 3124200"/>
                <a:gd name="connsiteX1" fmla="*/ 5596965 w 5815131"/>
                <a:gd name="connsiteY1" fmla="*/ 2101200 h 3124200"/>
                <a:gd name="connsiteX2" fmla="*/ 5788660 w 5815131"/>
                <a:gd name="connsiteY2" fmla="*/ 2560320 h 3124200"/>
                <a:gd name="connsiteX3" fmla="*/ 5438140 w 5815131"/>
                <a:gd name="connsiteY3" fmla="*/ 2979420 h 3124200"/>
                <a:gd name="connsiteX4" fmla="*/ 4919980 w 5815131"/>
                <a:gd name="connsiteY4" fmla="*/ 3101340 h 3124200"/>
                <a:gd name="connsiteX5" fmla="*/ 4150360 w 5815131"/>
                <a:gd name="connsiteY5" fmla="*/ 3093720 h 3124200"/>
                <a:gd name="connsiteX6" fmla="*/ 3426460 w 5815131"/>
                <a:gd name="connsiteY6" fmla="*/ 2918460 h 3124200"/>
                <a:gd name="connsiteX7" fmla="*/ 2717800 w 5815131"/>
                <a:gd name="connsiteY7" fmla="*/ 2819400 h 3124200"/>
                <a:gd name="connsiteX8" fmla="*/ 2352040 w 5815131"/>
                <a:gd name="connsiteY8" fmla="*/ 2712720 h 3124200"/>
                <a:gd name="connsiteX9" fmla="*/ 2146300 w 5815131"/>
                <a:gd name="connsiteY9" fmla="*/ 2286000 h 3124200"/>
                <a:gd name="connsiteX10" fmla="*/ 1955800 w 5815131"/>
                <a:gd name="connsiteY10" fmla="*/ 1744980 h 3124200"/>
                <a:gd name="connsiteX11" fmla="*/ 1879600 w 5815131"/>
                <a:gd name="connsiteY11" fmla="*/ 1440180 h 3124200"/>
                <a:gd name="connsiteX12" fmla="*/ 1590040 w 5815131"/>
                <a:gd name="connsiteY12" fmla="*/ 1272540 h 3124200"/>
                <a:gd name="connsiteX13" fmla="*/ 889000 w 5815131"/>
                <a:gd name="connsiteY13" fmla="*/ 1242060 h 3124200"/>
                <a:gd name="connsiteX14" fmla="*/ 469900 w 5815131"/>
                <a:gd name="connsiteY14" fmla="*/ 1196340 h 3124200"/>
                <a:gd name="connsiteX15" fmla="*/ 134620 w 5815131"/>
                <a:gd name="connsiteY15" fmla="*/ 1173480 h 3124200"/>
                <a:gd name="connsiteX16" fmla="*/ 20320 w 5815131"/>
                <a:gd name="connsiteY16" fmla="*/ 1043940 h 3124200"/>
                <a:gd name="connsiteX17" fmla="*/ 12700 w 5815131"/>
                <a:gd name="connsiteY17" fmla="*/ 731520 h 3124200"/>
                <a:gd name="connsiteX18" fmla="*/ 81280 w 5815131"/>
                <a:gd name="connsiteY18" fmla="*/ 464820 h 3124200"/>
                <a:gd name="connsiteX19" fmla="*/ 233680 w 5815131"/>
                <a:gd name="connsiteY19" fmla="*/ 320040 h 3124200"/>
                <a:gd name="connsiteX20" fmla="*/ 447040 w 5815131"/>
                <a:gd name="connsiteY20" fmla="*/ 213360 h 3124200"/>
                <a:gd name="connsiteX21" fmla="*/ 652780 w 5815131"/>
                <a:gd name="connsiteY21" fmla="*/ 0 h 3124200"/>
                <a:gd name="connsiteX0" fmla="*/ 5740980 w 5815131"/>
                <a:gd name="connsiteY0" fmla="*/ 2101200 h 3124200"/>
                <a:gd name="connsiteX1" fmla="*/ 5596965 w 5815131"/>
                <a:gd name="connsiteY1" fmla="*/ 2101200 h 3124200"/>
                <a:gd name="connsiteX2" fmla="*/ 5788660 w 5815131"/>
                <a:gd name="connsiteY2" fmla="*/ 2560320 h 3124200"/>
                <a:gd name="connsiteX3" fmla="*/ 5438140 w 5815131"/>
                <a:gd name="connsiteY3" fmla="*/ 2979420 h 3124200"/>
                <a:gd name="connsiteX4" fmla="*/ 4919980 w 5815131"/>
                <a:gd name="connsiteY4" fmla="*/ 3101340 h 3124200"/>
                <a:gd name="connsiteX5" fmla="*/ 4150360 w 5815131"/>
                <a:gd name="connsiteY5" fmla="*/ 3093720 h 3124200"/>
                <a:gd name="connsiteX6" fmla="*/ 3426460 w 5815131"/>
                <a:gd name="connsiteY6" fmla="*/ 2918460 h 3124200"/>
                <a:gd name="connsiteX7" fmla="*/ 2717800 w 5815131"/>
                <a:gd name="connsiteY7" fmla="*/ 2819400 h 3124200"/>
                <a:gd name="connsiteX8" fmla="*/ 2352040 w 5815131"/>
                <a:gd name="connsiteY8" fmla="*/ 2712720 h 3124200"/>
                <a:gd name="connsiteX9" fmla="*/ 2146300 w 5815131"/>
                <a:gd name="connsiteY9" fmla="*/ 2286000 h 3124200"/>
                <a:gd name="connsiteX10" fmla="*/ 1955800 w 5815131"/>
                <a:gd name="connsiteY10" fmla="*/ 1744980 h 3124200"/>
                <a:gd name="connsiteX11" fmla="*/ 1879600 w 5815131"/>
                <a:gd name="connsiteY11" fmla="*/ 1440180 h 3124200"/>
                <a:gd name="connsiteX12" fmla="*/ 1590040 w 5815131"/>
                <a:gd name="connsiteY12" fmla="*/ 1272540 h 3124200"/>
                <a:gd name="connsiteX13" fmla="*/ 889000 w 5815131"/>
                <a:gd name="connsiteY13" fmla="*/ 1242060 h 3124200"/>
                <a:gd name="connsiteX14" fmla="*/ 469900 w 5815131"/>
                <a:gd name="connsiteY14" fmla="*/ 1196340 h 3124200"/>
                <a:gd name="connsiteX15" fmla="*/ 134620 w 5815131"/>
                <a:gd name="connsiteY15" fmla="*/ 1173480 h 3124200"/>
                <a:gd name="connsiteX16" fmla="*/ 20320 w 5815131"/>
                <a:gd name="connsiteY16" fmla="*/ 1043940 h 3124200"/>
                <a:gd name="connsiteX17" fmla="*/ 12700 w 5815131"/>
                <a:gd name="connsiteY17" fmla="*/ 731520 h 3124200"/>
                <a:gd name="connsiteX18" fmla="*/ 81280 w 5815131"/>
                <a:gd name="connsiteY18" fmla="*/ 464820 h 3124200"/>
                <a:gd name="connsiteX19" fmla="*/ 233680 w 5815131"/>
                <a:gd name="connsiteY19" fmla="*/ 320040 h 3124200"/>
                <a:gd name="connsiteX20" fmla="*/ 447040 w 5815131"/>
                <a:gd name="connsiteY20" fmla="*/ 213360 h 3124200"/>
                <a:gd name="connsiteX21" fmla="*/ 652780 w 5815131"/>
                <a:gd name="connsiteY21" fmla="*/ 0 h 3124200"/>
                <a:gd name="connsiteX0" fmla="*/ 5596965 w 5815131"/>
                <a:gd name="connsiteY0" fmla="*/ 2101200 h 3124200"/>
                <a:gd name="connsiteX1" fmla="*/ 5788660 w 5815131"/>
                <a:gd name="connsiteY1" fmla="*/ 2560320 h 3124200"/>
                <a:gd name="connsiteX2" fmla="*/ 5438140 w 5815131"/>
                <a:gd name="connsiteY2" fmla="*/ 2979420 h 3124200"/>
                <a:gd name="connsiteX3" fmla="*/ 4919980 w 5815131"/>
                <a:gd name="connsiteY3" fmla="*/ 3101340 h 3124200"/>
                <a:gd name="connsiteX4" fmla="*/ 4150360 w 5815131"/>
                <a:gd name="connsiteY4" fmla="*/ 3093720 h 3124200"/>
                <a:gd name="connsiteX5" fmla="*/ 3426460 w 5815131"/>
                <a:gd name="connsiteY5" fmla="*/ 2918460 h 3124200"/>
                <a:gd name="connsiteX6" fmla="*/ 2717800 w 5815131"/>
                <a:gd name="connsiteY6" fmla="*/ 2819400 h 3124200"/>
                <a:gd name="connsiteX7" fmla="*/ 2352040 w 5815131"/>
                <a:gd name="connsiteY7" fmla="*/ 2712720 h 3124200"/>
                <a:gd name="connsiteX8" fmla="*/ 2146300 w 5815131"/>
                <a:gd name="connsiteY8" fmla="*/ 2286000 h 3124200"/>
                <a:gd name="connsiteX9" fmla="*/ 1955800 w 5815131"/>
                <a:gd name="connsiteY9" fmla="*/ 1744980 h 3124200"/>
                <a:gd name="connsiteX10" fmla="*/ 1879600 w 5815131"/>
                <a:gd name="connsiteY10" fmla="*/ 1440180 h 3124200"/>
                <a:gd name="connsiteX11" fmla="*/ 1590040 w 5815131"/>
                <a:gd name="connsiteY11" fmla="*/ 1272540 h 3124200"/>
                <a:gd name="connsiteX12" fmla="*/ 889000 w 5815131"/>
                <a:gd name="connsiteY12" fmla="*/ 1242060 h 3124200"/>
                <a:gd name="connsiteX13" fmla="*/ 469900 w 5815131"/>
                <a:gd name="connsiteY13" fmla="*/ 1196340 h 3124200"/>
                <a:gd name="connsiteX14" fmla="*/ 134620 w 5815131"/>
                <a:gd name="connsiteY14" fmla="*/ 1173480 h 3124200"/>
                <a:gd name="connsiteX15" fmla="*/ 20320 w 5815131"/>
                <a:gd name="connsiteY15" fmla="*/ 1043940 h 3124200"/>
                <a:gd name="connsiteX16" fmla="*/ 12700 w 5815131"/>
                <a:gd name="connsiteY16" fmla="*/ 731520 h 3124200"/>
                <a:gd name="connsiteX17" fmla="*/ 81280 w 5815131"/>
                <a:gd name="connsiteY17" fmla="*/ 464820 h 3124200"/>
                <a:gd name="connsiteX18" fmla="*/ 233680 w 5815131"/>
                <a:gd name="connsiteY18" fmla="*/ 320040 h 3124200"/>
                <a:gd name="connsiteX19" fmla="*/ 447040 w 5815131"/>
                <a:gd name="connsiteY19" fmla="*/ 213360 h 3124200"/>
                <a:gd name="connsiteX20" fmla="*/ 652780 w 5815131"/>
                <a:gd name="connsiteY20" fmla="*/ 0 h 3124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815131" h="3124200">
                  <a:moveTo>
                    <a:pt x="5596965" y="2101200"/>
                  </a:moveTo>
                  <a:cubicBezTo>
                    <a:pt x="5763588" y="2172784"/>
                    <a:pt x="5815131" y="2413950"/>
                    <a:pt x="5788660" y="2560320"/>
                  </a:cubicBezTo>
                  <a:cubicBezTo>
                    <a:pt x="5762189" y="2706690"/>
                    <a:pt x="5582920" y="2889250"/>
                    <a:pt x="5438140" y="2979420"/>
                  </a:cubicBezTo>
                  <a:cubicBezTo>
                    <a:pt x="5293360" y="3069590"/>
                    <a:pt x="5134610" y="3082290"/>
                    <a:pt x="4919980" y="3101340"/>
                  </a:cubicBezTo>
                  <a:cubicBezTo>
                    <a:pt x="4705350" y="3120390"/>
                    <a:pt x="4399280" y="3124200"/>
                    <a:pt x="4150360" y="3093720"/>
                  </a:cubicBezTo>
                  <a:cubicBezTo>
                    <a:pt x="3901440" y="3063240"/>
                    <a:pt x="3665220" y="2964180"/>
                    <a:pt x="3426460" y="2918460"/>
                  </a:cubicBezTo>
                  <a:cubicBezTo>
                    <a:pt x="3187700" y="2872740"/>
                    <a:pt x="2896870" y="2853690"/>
                    <a:pt x="2717800" y="2819400"/>
                  </a:cubicBezTo>
                  <a:cubicBezTo>
                    <a:pt x="2538730" y="2785110"/>
                    <a:pt x="2447290" y="2801620"/>
                    <a:pt x="2352040" y="2712720"/>
                  </a:cubicBezTo>
                  <a:cubicBezTo>
                    <a:pt x="2256790" y="2623820"/>
                    <a:pt x="2212340" y="2447290"/>
                    <a:pt x="2146300" y="2286000"/>
                  </a:cubicBezTo>
                  <a:cubicBezTo>
                    <a:pt x="2080260" y="2124710"/>
                    <a:pt x="2000250" y="1885950"/>
                    <a:pt x="1955800" y="1744980"/>
                  </a:cubicBezTo>
                  <a:cubicBezTo>
                    <a:pt x="1911350" y="1604010"/>
                    <a:pt x="1940560" y="1518920"/>
                    <a:pt x="1879600" y="1440180"/>
                  </a:cubicBezTo>
                  <a:cubicBezTo>
                    <a:pt x="1818640" y="1361440"/>
                    <a:pt x="1755140" y="1305560"/>
                    <a:pt x="1590040" y="1272540"/>
                  </a:cubicBezTo>
                  <a:cubicBezTo>
                    <a:pt x="1424940" y="1239520"/>
                    <a:pt x="1075690" y="1254760"/>
                    <a:pt x="889000" y="1242060"/>
                  </a:cubicBezTo>
                  <a:cubicBezTo>
                    <a:pt x="702310" y="1229360"/>
                    <a:pt x="595630" y="1207770"/>
                    <a:pt x="469900" y="1196340"/>
                  </a:cubicBezTo>
                  <a:cubicBezTo>
                    <a:pt x="344170" y="1184910"/>
                    <a:pt x="209550" y="1198880"/>
                    <a:pt x="134620" y="1173480"/>
                  </a:cubicBezTo>
                  <a:cubicBezTo>
                    <a:pt x="59690" y="1148080"/>
                    <a:pt x="40640" y="1117600"/>
                    <a:pt x="20320" y="1043940"/>
                  </a:cubicBezTo>
                  <a:cubicBezTo>
                    <a:pt x="0" y="970280"/>
                    <a:pt x="2540" y="828040"/>
                    <a:pt x="12700" y="731520"/>
                  </a:cubicBezTo>
                  <a:cubicBezTo>
                    <a:pt x="22860" y="635000"/>
                    <a:pt x="44450" y="533400"/>
                    <a:pt x="81280" y="464820"/>
                  </a:cubicBezTo>
                  <a:cubicBezTo>
                    <a:pt x="118110" y="396240"/>
                    <a:pt x="172720" y="361950"/>
                    <a:pt x="233680" y="320040"/>
                  </a:cubicBezTo>
                  <a:cubicBezTo>
                    <a:pt x="294640" y="278130"/>
                    <a:pt x="377190" y="266700"/>
                    <a:pt x="447040" y="213360"/>
                  </a:cubicBezTo>
                  <a:cubicBezTo>
                    <a:pt x="516890" y="160020"/>
                    <a:pt x="584835" y="80010"/>
                    <a:pt x="652780" y="0"/>
                  </a:cubicBezTo>
                </a:path>
              </a:pathLst>
            </a:custGeom>
            <a:ln w="15875">
              <a:prstDash val="dash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1" name="Полилиния 100"/>
            <p:cNvSpPr/>
            <p:nvPr/>
          </p:nvSpPr>
          <p:spPr>
            <a:xfrm>
              <a:off x="4283143" y="3271785"/>
              <a:ext cx="319986" cy="639955"/>
            </a:xfrm>
            <a:custGeom>
              <a:avLst/>
              <a:gdLst>
                <a:gd name="connsiteX0" fmla="*/ 228600 w 320040"/>
                <a:gd name="connsiteY0" fmla="*/ 640080 h 640080"/>
                <a:gd name="connsiteX1" fmla="*/ 152400 w 320040"/>
                <a:gd name="connsiteY1" fmla="*/ 579120 h 640080"/>
                <a:gd name="connsiteX2" fmla="*/ 30480 w 320040"/>
                <a:gd name="connsiteY2" fmla="*/ 411480 h 640080"/>
                <a:gd name="connsiteX3" fmla="*/ 0 w 320040"/>
                <a:gd name="connsiteY3" fmla="*/ 266700 h 640080"/>
                <a:gd name="connsiteX4" fmla="*/ 30480 w 320040"/>
                <a:gd name="connsiteY4" fmla="*/ 190500 h 640080"/>
                <a:gd name="connsiteX5" fmla="*/ 160020 w 320040"/>
                <a:gd name="connsiteY5" fmla="*/ 106680 h 640080"/>
                <a:gd name="connsiteX6" fmla="*/ 274320 w 320040"/>
                <a:gd name="connsiteY6" fmla="*/ 38100 h 640080"/>
                <a:gd name="connsiteX7" fmla="*/ 320040 w 320040"/>
                <a:gd name="connsiteY7" fmla="*/ 0 h 64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040" h="640080">
                  <a:moveTo>
                    <a:pt x="228600" y="640080"/>
                  </a:moveTo>
                  <a:cubicBezTo>
                    <a:pt x="207010" y="628650"/>
                    <a:pt x="185420" y="617220"/>
                    <a:pt x="152400" y="579120"/>
                  </a:cubicBezTo>
                  <a:cubicBezTo>
                    <a:pt x="119380" y="541020"/>
                    <a:pt x="55880" y="463550"/>
                    <a:pt x="30480" y="411480"/>
                  </a:cubicBezTo>
                  <a:cubicBezTo>
                    <a:pt x="5080" y="359410"/>
                    <a:pt x="0" y="303530"/>
                    <a:pt x="0" y="266700"/>
                  </a:cubicBezTo>
                  <a:cubicBezTo>
                    <a:pt x="0" y="229870"/>
                    <a:pt x="3810" y="217170"/>
                    <a:pt x="30480" y="190500"/>
                  </a:cubicBezTo>
                  <a:cubicBezTo>
                    <a:pt x="57150" y="163830"/>
                    <a:pt x="119380" y="132080"/>
                    <a:pt x="160020" y="106680"/>
                  </a:cubicBezTo>
                  <a:cubicBezTo>
                    <a:pt x="200660" y="81280"/>
                    <a:pt x="247650" y="55880"/>
                    <a:pt x="274320" y="38100"/>
                  </a:cubicBezTo>
                  <a:cubicBezTo>
                    <a:pt x="300990" y="20320"/>
                    <a:pt x="310515" y="10160"/>
                    <a:pt x="320040" y="0"/>
                  </a:cubicBezTo>
                </a:path>
              </a:pathLst>
            </a:custGeom>
            <a:ln w="15875">
              <a:prstDash val="dash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3506" name="Прямоугольник 109"/>
            <p:cNvSpPr>
              <a:spLocks noChangeArrowheads="1"/>
            </p:cNvSpPr>
            <p:nvPr/>
          </p:nvSpPr>
          <p:spPr bwMode="auto">
            <a:xfrm>
              <a:off x="3059832" y="3797130"/>
              <a:ext cx="785146" cy="241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45-60 </a:t>
              </a:r>
              <a:r>
                <a:rPr lang="en-US" sz="1200" b="1" dirty="0" smtClean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days</a:t>
              </a:r>
              <a:endParaRPr lang="ru-RU" dirty="0">
                <a:solidFill>
                  <a:srgbClr val="953735"/>
                </a:solidFill>
                <a:latin typeface="Calibri" pitchFamily="34" charset="0"/>
              </a:endParaRPr>
            </a:p>
          </p:txBody>
        </p:sp>
        <p:sp>
          <p:nvSpPr>
            <p:cNvPr id="63507" name="Прямоугольник 110"/>
            <p:cNvSpPr>
              <a:spLocks noChangeArrowheads="1"/>
            </p:cNvSpPr>
            <p:nvPr/>
          </p:nvSpPr>
          <p:spPr bwMode="auto">
            <a:xfrm>
              <a:off x="3995936" y="3619101"/>
              <a:ext cx="785146" cy="241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35-45 </a:t>
              </a:r>
              <a:r>
                <a:rPr lang="en-US" sz="1200" b="1" dirty="0" smtClean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days</a:t>
              </a:r>
              <a:endParaRPr lang="ru-RU" dirty="0">
                <a:solidFill>
                  <a:srgbClr val="953735"/>
                </a:solidFill>
                <a:latin typeface="Calibri" pitchFamily="34" charset="0"/>
              </a:endParaRPr>
            </a:p>
          </p:txBody>
        </p:sp>
        <p:sp>
          <p:nvSpPr>
            <p:cNvPr id="112" name="Полилиния 111"/>
            <p:cNvSpPr/>
            <p:nvPr/>
          </p:nvSpPr>
          <p:spPr>
            <a:xfrm>
              <a:off x="4990556" y="2865927"/>
              <a:ext cx="3215648" cy="1502923"/>
            </a:xfrm>
            <a:custGeom>
              <a:avLst/>
              <a:gdLst>
                <a:gd name="connsiteX0" fmla="*/ 3215640 w 3215640"/>
                <a:gd name="connsiteY0" fmla="*/ 1503680 h 1503680"/>
                <a:gd name="connsiteX1" fmla="*/ 2948940 w 3215640"/>
                <a:gd name="connsiteY1" fmla="*/ 1214120 h 1503680"/>
                <a:gd name="connsiteX2" fmla="*/ 2621280 w 3215640"/>
                <a:gd name="connsiteY2" fmla="*/ 901700 h 1503680"/>
                <a:gd name="connsiteX3" fmla="*/ 2255520 w 3215640"/>
                <a:gd name="connsiteY3" fmla="*/ 673100 h 1503680"/>
                <a:gd name="connsiteX4" fmla="*/ 1988820 w 3215640"/>
                <a:gd name="connsiteY4" fmla="*/ 459740 h 1503680"/>
                <a:gd name="connsiteX5" fmla="*/ 1714500 w 3215640"/>
                <a:gd name="connsiteY5" fmla="*/ 330200 h 1503680"/>
                <a:gd name="connsiteX6" fmla="*/ 1630680 w 3215640"/>
                <a:gd name="connsiteY6" fmla="*/ 284480 h 1503680"/>
                <a:gd name="connsiteX7" fmla="*/ 1417320 w 3215640"/>
                <a:gd name="connsiteY7" fmla="*/ 254000 h 1503680"/>
                <a:gd name="connsiteX8" fmla="*/ 1219200 w 3215640"/>
                <a:gd name="connsiteY8" fmla="*/ 231140 h 1503680"/>
                <a:gd name="connsiteX9" fmla="*/ 1036320 w 3215640"/>
                <a:gd name="connsiteY9" fmla="*/ 86360 h 1503680"/>
                <a:gd name="connsiteX10" fmla="*/ 815340 w 3215640"/>
                <a:gd name="connsiteY10" fmla="*/ 10160 h 1503680"/>
                <a:gd name="connsiteX11" fmla="*/ 525780 w 3215640"/>
                <a:gd name="connsiteY11" fmla="*/ 25400 h 1503680"/>
                <a:gd name="connsiteX12" fmla="*/ 304800 w 3215640"/>
                <a:gd name="connsiteY12" fmla="*/ 154940 h 1503680"/>
                <a:gd name="connsiteX13" fmla="*/ 0 w 3215640"/>
                <a:gd name="connsiteY13" fmla="*/ 238760 h 1503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15640" h="1503680">
                  <a:moveTo>
                    <a:pt x="3215640" y="1503680"/>
                  </a:moveTo>
                  <a:cubicBezTo>
                    <a:pt x="3131820" y="1409065"/>
                    <a:pt x="3048000" y="1314450"/>
                    <a:pt x="2948940" y="1214120"/>
                  </a:cubicBezTo>
                  <a:cubicBezTo>
                    <a:pt x="2849880" y="1113790"/>
                    <a:pt x="2736850" y="991870"/>
                    <a:pt x="2621280" y="901700"/>
                  </a:cubicBezTo>
                  <a:cubicBezTo>
                    <a:pt x="2505710" y="811530"/>
                    <a:pt x="2360930" y="746760"/>
                    <a:pt x="2255520" y="673100"/>
                  </a:cubicBezTo>
                  <a:cubicBezTo>
                    <a:pt x="2150110" y="599440"/>
                    <a:pt x="2078990" y="516890"/>
                    <a:pt x="1988820" y="459740"/>
                  </a:cubicBezTo>
                  <a:cubicBezTo>
                    <a:pt x="1898650" y="402590"/>
                    <a:pt x="1774190" y="359410"/>
                    <a:pt x="1714500" y="330200"/>
                  </a:cubicBezTo>
                  <a:cubicBezTo>
                    <a:pt x="1654810" y="300990"/>
                    <a:pt x="1680210" y="297180"/>
                    <a:pt x="1630680" y="284480"/>
                  </a:cubicBezTo>
                  <a:cubicBezTo>
                    <a:pt x="1581150" y="271780"/>
                    <a:pt x="1485900" y="262890"/>
                    <a:pt x="1417320" y="254000"/>
                  </a:cubicBezTo>
                  <a:cubicBezTo>
                    <a:pt x="1348740" y="245110"/>
                    <a:pt x="1282700" y="259080"/>
                    <a:pt x="1219200" y="231140"/>
                  </a:cubicBezTo>
                  <a:cubicBezTo>
                    <a:pt x="1155700" y="203200"/>
                    <a:pt x="1103630" y="123190"/>
                    <a:pt x="1036320" y="86360"/>
                  </a:cubicBezTo>
                  <a:cubicBezTo>
                    <a:pt x="969010" y="49530"/>
                    <a:pt x="900430" y="20320"/>
                    <a:pt x="815340" y="10160"/>
                  </a:cubicBezTo>
                  <a:cubicBezTo>
                    <a:pt x="730250" y="0"/>
                    <a:pt x="610870" y="1270"/>
                    <a:pt x="525780" y="25400"/>
                  </a:cubicBezTo>
                  <a:cubicBezTo>
                    <a:pt x="440690" y="49530"/>
                    <a:pt x="392430" y="119380"/>
                    <a:pt x="304800" y="154940"/>
                  </a:cubicBezTo>
                  <a:cubicBezTo>
                    <a:pt x="217170" y="190500"/>
                    <a:pt x="108585" y="214630"/>
                    <a:pt x="0" y="238760"/>
                  </a:cubicBezTo>
                </a:path>
              </a:pathLst>
            </a:custGeom>
            <a:ln w="15875">
              <a:solidFill>
                <a:srgbClr val="FF0000"/>
              </a:solidFill>
              <a:prstDash val="dash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3509" name="Прямоугольник 112"/>
            <p:cNvSpPr>
              <a:spLocks noChangeArrowheads="1"/>
            </p:cNvSpPr>
            <p:nvPr/>
          </p:nvSpPr>
          <p:spPr bwMode="auto">
            <a:xfrm>
              <a:off x="5076056" y="2910056"/>
              <a:ext cx="785146" cy="241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12-15 </a:t>
              </a:r>
              <a:r>
                <a:rPr lang="en-US" sz="1200" b="1" dirty="0" smtClean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days</a:t>
              </a:r>
              <a:endParaRPr lang="ru-RU" dirty="0">
                <a:solidFill>
                  <a:srgbClr val="953735"/>
                </a:solidFill>
                <a:latin typeface="Calibri" pitchFamily="34" charset="0"/>
              </a:endParaRPr>
            </a:p>
          </p:txBody>
        </p:sp>
        <p:sp>
          <p:nvSpPr>
            <p:cNvPr id="114" name="Полилиния 113"/>
            <p:cNvSpPr/>
            <p:nvPr/>
          </p:nvSpPr>
          <p:spPr>
            <a:xfrm>
              <a:off x="3984680" y="2588890"/>
              <a:ext cx="1806559" cy="288118"/>
            </a:xfrm>
            <a:custGeom>
              <a:avLst/>
              <a:gdLst>
                <a:gd name="connsiteX0" fmla="*/ 1805940 w 1805940"/>
                <a:gd name="connsiteY0" fmla="*/ 287020 h 288290"/>
                <a:gd name="connsiteX1" fmla="*/ 1684020 w 1805940"/>
                <a:gd name="connsiteY1" fmla="*/ 279400 h 288290"/>
                <a:gd name="connsiteX2" fmla="*/ 1584960 w 1805940"/>
                <a:gd name="connsiteY2" fmla="*/ 233680 h 288290"/>
                <a:gd name="connsiteX3" fmla="*/ 1287780 w 1805940"/>
                <a:gd name="connsiteY3" fmla="*/ 96520 h 288290"/>
                <a:gd name="connsiteX4" fmla="*/ 800100 w 1805940"/>
                <a:gd name="connsiteY4" fmla="*/ 43180 h 288290"/>
                <a:gd name="connsiteX5" fmla="*/ 434340 w 1805940"/>
                <a:gd name="connsiteY5" fmla="*/ 5080 h 288290"/>
                <a:gd name="connsiteX6" fmla="*/ 190500 w 1805940"/>
                <a:gd name="connsiteY6" fmla="*/ 73660 h 288290"/>
                <a:gd name="connsiteX7" fmla="*/ 0 w 1805940"/>
                <a:gd name="connsiteY7" fmla="*/ 50800 h 288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5940" h="288290">
                  <a:moveTo>
                    <a:pt x="1805940" y="287020"/>
                  </a:moveTo>
                  <a:cubicBezTo>
                    <a:pt x="1763395" y="287655"/>
                    <a:pt x="1720850" y="288290"/>
                    <a:pt x="1684020" y="279400"/>
                  </a:cubicBezTo>
                  <a:cubicBezTo>
                    <a:pt x="1647190" y="270510"/>
                    <a:pt x="1584960" y="233680"/>
                    <a:pt x="1584960" y="233680"/>
                  </a:cubicBezTo>
                  <a:cubicBezTo>
                    <a:pt x="1518920" y="203200"/>
                    <a:pt x="1418590" y="128270"/>
                    <a:pt x="1287780" y="96520"/>
                  </a:cubicBezTo>
                  <a:cubicBezTo>
                    <a:pt x="1156970" y="64770"/>
                    <a:pt x="800100" y="43180"/>
                    <a:pt x="800100" y="43180"/>
                  </a:cubicBezTo>
                  <a:cubicBezTo>
                    <a:pt x="657860" y="27940"/>
                    <a:pt x="535940" y="0"/>
                    <a:pt x="434340" y="5080"/>
                  </a:cubicBezTo>
                  <a:cubicBezTo>
                    <a:pt x="332740" y="10160"/>
                    <a:pt x="262890" y="66040"/>
                    <a:pt x="190500" y="73660"/>
                  </a:cubicBezTo>
                  <a:cubicBezTo>
                    <a:pt x="118110" y="81280"/>
                    <a:pt x="59055" y="66040"/>
                    <a:pt x="0" y="50800"/>
                  </a:cubicBezTo>
                </a:path>
              </a:pathLst>
            </a:custGeom>
            <a:ln w="15875">
              <a:solidFill>
                <a:srgbClr val="FF0000"/>
              </a:solidFill>
              <a:prstDash val="dash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3511" name="Прямоугольник 114"/>
            <p:cNvSpPr>
              <a:spLocks noChangeArrowheads="1"/>
            </p:cNvSpPr>
            <p:nvPr/>
          </p:nvSpPr>
          <p:spPr bwMode="auto">
            <a:xfrm>
              <a:off x="4644008" y="2406000"/>
              <a:ext cx="785146" cy="2416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200" b="1" dirty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15-17 </a:t>
              </a:r>
              <a:r>
                <a:rPr lang="en-US" sz="1200" b="1" dirty="0" smtClean="0">
                  <a:solidFill>
                    <a:srgbClr val="953735"/>
                  </a:solidFill>
                  <a:latin typeface="Calibri" pitchFamily="34" charset="0"/>
                  <a:cs typeface="Arial" charset="0"/>
                </a:rPr>
                <a:t>days</a:t>
              </a:r>
              <a:endParaRPr lang="ru-RU" dirty="0">
                <a:solidFill>
                  <a:srgbClr val="953735"/>
                </a:solidFill>
                <a:latin typeface="Calibri" pitchFamily="34" charset="0"/>
              </a:endParaRPr>
            </a:p>
          </p:txBody>
        </p:sp>
        <p:pic>
          <p:nvPicPr>
            <p:cNvPr id="63512" name="Picture 1" descr="C:\Documents and Settings\kemengerov_m\Рабочий стол\Презентации\картинки\Поезда\diesellocomotive_boxcar_blue_256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985771" y="2574531"/>
              <a:ext cx="676920" cy="676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513" name="Picture 2" descr="C:\Documents and Settings\kemengerov_m\Рабочий стол\Презентации\картинки\Корабли\images.jp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flipH="1">
              <a:off x="4139952" y="4278208"/>
              <a:ext cx="936104" cy="7425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8" name="Freeform 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10800000">
              <a:off x="5693665" y="3129112"/>
              <a:ext cx="678716" cy="558228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00">
                    <a:alpha val="35000"/>
                  </a:srgbClr>
                </a:gs>
                <a:gs pos="100000">
                  <a:srgbClr val="FFFF00">
                    <a:alpha val="0"/>
                  </a:srgb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119" name="Freeform 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17274486">
              <a:off x="4553736" y="2333066"/>
              <a:ext cx="685666" cy="934130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00">
                    <a:alpha val="35000"/>
                  </a:srgbClr>
                </a:gs>
                <a:gs pos="100000">
                  <a:srgbClr val="FFFF00">
                    <a:alpha val="0"/>
                  </a:srgb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120" name="Freeform 3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7290062">
              <a:off x="6727635" y="3015028"/>
              <a:ext cx="685666" cy="1387565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00">
                    <a:alpha val="35000"/>
                  </a:srgbClr>
                </a:gs>
                <a:gs pos="100000">
                  <a:srgbClr val="FFFF00">
                    <a:alpha val="0"/>
                  </a:srgb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5690795" y="3397837"/>
              <a:ext cx="995832" cy="418325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75600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rgbClr val="002060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5723799" y="3774607"/>
              <a:ext cx="878341" cy="2215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b="1" dirty="0" smtClean="0">
                  <a:solidFill>
                    <a:srgbClr val="006600"/>
                  </a:solidFill>
                  <a:latin typeface="+mn-lt"/>
                  <a:cs typeface="Arial" pitchFamily="34" charset="0"/>
                </a:rPr>
                <a:t>Central Asia</a:t>
              </a:r>
              <a:endParaRPr lang="ru-RU" sz="1400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07" name="Прямоугольник 106"/>
            <p:cNvSpPr/>
            <p:nvPr/>
          </p:nvSpPr>
          <p:spPr>
            <a:xfrm>
              <a:off x="4363565" y="3031326"/>
              <a:ext cx="608840" cy="1879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 smtClean="0">
                  <a:solidFill>
                    <a:srgbClr val="006600"/>
                  </a:solidFill>
                  <a:latin typeface="+mn-lt"/>
                  <a:cs typeface="Arial" pitchFamily="34" charset="0"/>
                </a:rPr>
                <a:t>Black Sea</a:t>
              </a:r>
              <a:endParaRPr lang="ru-RU" sz="1050" dirty="0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239" name="TextBox 238"/>
          <p:cNvSpPr txBox="1"/>
          <p:nvPr/>
        </p:nvSpPr>
        <p:spPr>
          <a:xfrm>
            <a:off x="0" y="66675"/>
            <a:ext cx="6732588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endParaRPr lang="ru-RU" sz="1600" b="1">
              <a:solidFill>
                <a:srgbClr val="376092"/>
              </a:solidFill>
              <a:latin typeface="Calibri" pitchFamily="34" charset="0"/>
            </a:endParaRPr>
          </a:p>
        </p:txBody>
      </p:sp>
      <p:sp>
        <p:nvSpPr>
          <p:cNvPr id="32" name="Пятиугольник 31"/>
          <p:cNvSpPr/>
          <p:nvPr/>
        </p:nvSpPr>
        <p:spPr>
          <a:xfrm>
            <a:off x="4270" y="55672"/>
            <a:ext cx="8600178" cy="42100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u="sng" dirty="0" smtClean="0">
                <a:latin typeface="Impact" pitchFamily="34" charset="0"/>
              </a:rPr>
              <a:t>Kazakhstan</a:t>
            </a:r>
            <a:r>
              <a:rPr lang="ru-RU" dirty="0" smtClean="0">
                <a:latin typeface="Impact" pitchFamily="34" charset="0"/>
              </a:rPr>
              <a:t>  –  </a:t>
            </a:r>
            <a:r>
              <a:rPr lang="en-US" dirty="0" smtClean="0">
                <a:latin typeface="Impact" pitchFamily="34" charset="0"/>
              </a:rPr>
              <a:t>transit country</a:t>
            </a:r>
            <a:r>
              <a:rPr lang="ru-RU" dirty="0" smtClean="0">
                <a:latin typeface="Impact" pitchFamily="34" charset="0"/>
              </a:rPr>
              <a:t>, </a:t>
            </a:r>
            <a:r>
              <a:rPr lang="en-US" u="sng" dirty="0" smtClean="0">
                <a:latin typeface="Impact" pitchFamily="34" charset="0"/>
              </a:rPr>
              <a:t>revival of</a:t>
            </a:r>
            <a:r>
              <a:rPr lang="ru-RU" dirty="0" smtClean="0">
                <a:latin typeface="Impact" pitchFamily="34" charset="0"/>
              </a:rPr>
              <a:t>  </a:t>
            </a:r>
            <a:r>
              <a:rPr lang="en-US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</a:rPr>
              <a:t>GREAT SILK WAY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itchFamily="34" charset="0"/>
            </a:endParaRPr>
          </a:p>
        </p:txBody>
      </p:sp>
      <p:pic>
        <p:nvPicPr>
          <p:cNvPr id="48" name="Picture 14" descr="http://surr.globalist.org.ua/wp-content/uploads/eu-banner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844824"/>
            <a:ext cx="551849" cy="3752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pSp>
        <p:nvGrpSpPr>
          <p:cNvPr id="62" name="Группа 61"/>
          <p:cNvGrpSpPr/>
          <p:nvPr/>
        </p:nvGrpSpPr>
        <p:grpSpPr>
          <a:xfrm>
            <a:off x="-86748" y="1617914"/>
            <a:ext cx="2474847" cy="5098964"/>
            <a:chOff x="6734129" y="1607028"/>
            <a:chExt cx="2474847" cy="5098964"/>
          </a:xfrm>
        </p:grpSpPr>
        <p:sp>
          <p:nvSpPr>
            <p:cNvPr id="49" name="TextBox 48"/>
            <p:cNvSpPr txBox="1"/>
            <p:nvPr/>
          </p:nvSpPr>
          <p:spPr>
            <a:xfrm>
              <a:off x="6734129" y="1607028"/>
              <a:ext cx="247484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006600"/>
                  </a:solidFill>
                  <a:latin typeface="Impact" pitchFamily="34" charset="0"/>
                </a:rPr>
                <a:t>Current situation</a:t>
              </a:r>
            </a:p>
            <a:p>
              <a:pPr algn="ctr"/>
              <a:r>
                <a:rPr lang="en-US" sz="1400" dirty="0" smtClean="0">
                  <a:solidFill>
                    <a:srgbClr val="006600"/>
                  </a:solidFill>
                  <a:latin typeface="Impact" pitchFamily="34" charset="0"/>
                </a:rPr>
                <a:t>in global commodity turnover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6865370" y="2131850"/>
              <a:ext cx="2173964" cy="1785104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Goods turnover between China and Europe - </a:t>
              </a:r>
              <a:r>
                <a:rPr lang="en-US" sz="1050" dirty="0" smtClean="0">
                  <a:solidFill>
                    <a:srgbClr val="C00000"/>
                  </a:solidFill>
                  <a:latin typeface="Impact" pitchFamily="34" charset="0"/>
                </a:rPr>
                <a:t>11,7 </a:t>
              </a:r>
              <a:r>
                <a:rPr lang="en-US" sz="1050" dirty="0" err="1" smtClean="0">
                  <a:solidFill>
                    <a:srgbClr val="C00000"/>
                  </a:solidFill>
                  <a:latin typeface="Impact" pitchFamily="34" charset="0"/>
                </a:rPr>
                <a:t>mln</a:t>
              </a:r>
              <a:r>
                <a:rPr lang="en-US" sz="1050" dirty="0" smtClean="0">
                  <a:solidFill>
                    <a:srgbClr val="C00000"/>
                  </a:solidFill>
                  <a:latin typeface="Impact" pitchFamily="34" charset="0"/>
                </a:rPr>
                <a:t>. </a:t>
              </a:r>
              <a:r>
                <a:rPr lang="en-US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U</a:t>
              </a:r>
              <a:r>
                <a:rPr lang="ru-RU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/>
              </a:r>
              <a:br>
                <a:rPr lang="ru-RU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</a:br>
              <a:r>
                <a:rPr lang="en-US" sz="9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120-150 </a:t>
              </a:r>
              <a:r>
                <a:rPr lang="en-US" sz="900" i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ln</a:t>
              </a:r>
              <a:r>
                <a:rPr lang="en-US" sz="9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tons)</a:t>
              </a:r>
              <a:endParaRPr lang="ru-RU" sz="900" i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endParaRPr lang="ru-RU" sz="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en-US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Share of the Kazakhstan transit in EU-PRC-EU commodity turnover is less than </a:t>
              </a:r>
              <a:r>
                <a:rPr lang="ru-RU" sz="1050" dirty="0" smtClean="0">
                  <a:solidFill>
                    <a:srgbClr val="C00000"/>
                  </a:solidFill>
                  <a:latin typeface="Impact" pitchFamily="34" charset="0"/>
                </a:rPr>
                <a:t>0,1</a:t>
              </a:r>
              <a:r>
                <a:rPr lang="ru-RU" sz="1050" dirty="0">
                  <a:solidFill>
                    <a:srgbClr val="C00000"/>
                  </a:solidFill>
                  <a:latin typeface="Impact" pitchFamily="34" charset="0"/>
                </a:rPr>
                <a:t>%</a:t>
              </a:r>
            </a:p>
            <a:p>
              <a:endParaRPr lang="ru-RU" sz="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en-US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Not used potential of a cargo transportation in the EU-PRC-EU direction  - </a:t>
              </a:r>
              <a:r>
                <a:rPr lang="ru-RU" sz="1050" dirty="0" smtClean="0">
                  <a:solidFill>
                    <a:srgbClr val="C00000"/>
                  </a:solidFill>
                  <a:latin typeface="Impact" pitchFamily="34" charset="0"/>
                </a:rPr>
                <a:t>1,5 </a:t>
              </a:r>
              <a:r>
                <a:rPr lang="en-US" sz="1050" dirty="0" err="1" smtClean="0">
                  <a:solidFill>
                    <a:srgbClr val="C00000"/>
                  </a:solidFill>
                  <a:latin typeface="Impact" pitchFamily="34" charset="0"/>
                </a:rPr>
                <a:t>mln</a:t>
              </a:r>
              <a:r>
                <a:rPr lang="en-US" sz="1050" dirty="0" smtClean="0">
                  <a:solidFill>
                    <a:srgbClr val="C00000"/>
                  </a:solidFill>
                  <a:latin typeface="Impact" pitchFamily="34" charset="0"/>
                </a:rPr>
                <a:t>.</a:t>
              </a:r>
              <a:r>
                <a:rPr lang="ru-RU" sz="1050" dirty="0" smtClean="0">
                  <a:solidFill>
                    <a:srgbClr val="C00000"/>
                  </a:solidFill>
                  <a:latin typeface="Impact" pitchFamily="34" charset="0"/>
                </a:rPr>
                <a:t> </a:t>
              </a:r>
              <a:r>
                <a:rPr lang="en-US" sz="105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U</a:t>
              </a:r>
              <a:endParaRPr lang="ru-RU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en-US" sz="9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15-20 </a:t>
              </a:r>
              <a:r>
                <a:rPr lang="en-US" sz="900" i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ln</a:t>
              </a:r>
              <a:r>
                <a:rPr lang="en-US" sz="9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tons)</a:t>
              </a:r>
              <a:endParaRPr lang="ru-RU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52" name="Rectangle 134"/>
            <p:cNvSpPr>
              <a:spLocks noChangeArrowheads="1"/>
            </p:cNvSpPr>
            <p:nvPr/>
          </p:nvSpPr>
          <p:spPr bwMode="auto">
            <a:xfrm>
              <a:off x="6879093" y="3988962"/>
              <a:ext cx="2160241" cy="1346380"/>
            </a:xfrm>
            <a:prstGeom prst="rect">
              <a:avLst/>
            </a:prstGeom>
            <a:solidFill>
              <a:schemeClr val="bg1">
                <a:lumMod val="85000"/>
                <a:alpha val="65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 wrap="none" lIns="91418" tIns="45710" rIns="91418" bIns="45710" anchor="t" anchorCtr="0"/>
            <a:lstStyle/>
            <a:p>
              <a:pPr algn="ctr"/>
              <a:r>
                <a:rPr lang="en-US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Impact" pitchFamily="34" charset="0"/>
                </a:rPr>
                <a:t>INCOME FROM TRANSIT</a:t>
              </a:r>
            </a:p>
          </p:txBody>
        </p:sp>
        <p:sp>
          <p:nvSpPr>
            <p:cNvPr id="53" name="Пятиугольник 52"/>
            <p:cNvSpPr/>
            <p:nvPr/>
          </p:nvSpPr>
          <p:spPr>
            <a:xfrm rot="16200000">
              <a:off x="7014320" y="4357790"/>
              <a:ext cx="903445" cy="864096"/>
            </a:xfrm>
            <a:prstGeom prst="homePlat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ru-RU" sz="1100" dirty="0" smtClean="0">
                  <a:latin typeface="Impact" pitchFamily="34" charset="0"/>
                </a:rPr>
                <a:t>2013 </a:t>
              </a:r>
              <a:r>
                <a:rPr lang="en-US" sz="1100" dirty="0" smtClean="0">
                  <a:latin typeface="Impact" pitchFamily="34" charset="0"/>
                </a:rPr>
                <a:t/>
              </a:r>
              <a:br>
                <a:rPr lang="en-US" sz="1100" dirty="0" smtClean="0">
                  <a:latin typeface="Impact" pitchFamily="34" charset="0"/>
                </a:rPr>
              </a:br>
              <a:r>
                <a:rPr lang="en-US" sz="1100" dirty="0" smtClean="0">
                  <a:latin typeface="Impact" pitchFamily="34" charset="0"/>
                </a:rPr>
                <a:t>- </a:t>
              </a:r>
              <a:br>
                <a:rPr lang="en-US" sz="1100" dirty="0" smtClean="0">
                  <a:latin typeface="Impact" pitchFamily="34" charset="0"/>
                </a:rPr>
              </a:br>
              <a:r>
                <a:rPr lang="ru-RU" sz="1100" dirty="0" smtClean="0">
                  <a:latin typeface="Impact" pitchFamily="34" charset="0"/>
                </a:rPr>
                <a:t>853</a:t>
              </a:r>
            </a:p>
            <a:p>
              <a:pPr algn="ctr"/>
              <a:r>
                <a:rPr lang="ru-RU" sz="1100" dirty="0" smtClean="0">
                  <a:latin typeface="Impact" pitchFamily="34" charset="0"/>
                </a:rPr>
                <a:t> </a:t>
              </a:r>
              <a:r>
                <a:rPr lang="en-US" sz="1050" dirty="0" err="1" smtClean="0">
                  <a:latin typeface="Impact" pitchFamily="34" charset="0"/>
                </a:rPr>
                <a:t>mln</a:t>
              </a:r>
              <a:r>
                <a:rPr lang="ru-RU" sz="1050" dirty="0" smtClean="0">
                  <a:latin typeface="Impact" pitchFamily="34" charset="0"/>
                </a:rPr>
                <a:t>.</a:t>
              </a:r>
              <a:r>
                <a:rPr lang="en-US" sz="1050" dirty="0" smtClean="0">
                  <a:latin typeface="Impact" pitchFamily="34" charset="0"/>
                </a:rPr>
                <a:t>$</a:t>
              </a:r>
              <a:endParaRPr lang="ru-RU" sz="1050" dirty="0" smtClean="0">
                <a:latin typeface="Impact" pitchFamily="34" charset="0"/>
              </a:endParaRPr>
            </a:p>
          </p:txBody>
        </p:sp>
        <p:sp>
          <p:nvSpPr>
            <p:cNvPr id="54" name="Пятиугольник 53"/>
            <p:cNvSpPr/>
            <p:nvPr/>
          </p:nvSpPr>
          <p:spPr>
            <a:xfrm rot="16200000">
              <a:off x="7953772" y="4310901"/>
              <a:ext cx="1018996" cy="864096"/>
            </a:xfrm>
            <a:prstGeom prst="homePlate">
              <a:avLst/>
            </a:prstGeom>
            <a:solidFill>
              <a:srgbClr val="0066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ru-RU" sz="1200" dirty="0" smtClean="0">
                  <a:latin typeface="Impact" pitchFamily="34" charset="0"/>
                </a:rPr>
                <a:t>2020 </a:t>
              </a:r>
              <a:endParaRPr lang="en-US" sz="1200" dirty="0" smtClean="0">
                <a:latin typeface="Impact" pitchFamily="34" charset="0"/>
              </a:endParaRPr>
            </a:p>
            <a:p>
              <a:pPr algn="ctr"/>
              <a:r>
                <a:rPr lang="en-US" sz="1200" dirty="0" smtClean="0">
                  <a:latin typeface="Impact" pitchFamily="34" charset="0"/>
                </a:rPr>
                <a:t>-</a:t>
              </a:r>
            </a:p>
            <a:p>
              <a:pPr algn="ctr"/>
              <a:r>
                <a:rPr lang="en-US" sz="1200" dirty="0" smtClean="0">
                  <a:latin typeface="Impact" pitchFamily="34" charset="0"/>
                </a:rPr>
                <a:t>For about</a:t>
              </a:r>
              <a:r>
                <a:rPr lang="ru-RU" sz="1200" dirty="0" smtClean="0">
                  <a:latin typeface="Impact" pitchFamily="34" charset="0"/>
                </a:rPr>
                <a:t> </a:t>
              </a:r>
              <a:br>
                <a:rPr lang="ru-RU" sz="1200" dirty="0" smtClean="0">
                  <a:latin typeface="Impact" pitchFamily="34" charset="0"/>
                </a:rPr>
              </a:br>
              <a:r>
                <a:rPr lang="ru-RU" sz="1200" dirty="0" smtClean="0">
                  <a:latin typeface="Impact" pitchFamily="34" charset="0"/>
                </a:rPr>
                <a:t>2 </a:t>
              </a:r>
              <a:r>
                <a:rPr lang="en-US" sz="1050" dirty="0" err="1" smtClean="0">
                  <a:latin typeface="Impact" pitchFamily="34" charset="0"/>
                </a:rPr>
                <a:t>bln</a:t>
              </a:r>
              <a:r>
                <a:rPr lang="ru-RU" sz="1050" dirty="0" smtClean="0">
                  <a:latin typeface="Impact" pitchFamily="34" charset="0"/>
                </a:rPr>
                <a:t>.</a:t>
              </a:r>
              <a:r>
                <a:rPr lang="en-US" sz="1050" dirty="0" smtClean="0">
                  <a:latin typeface="Impact" pitchFamily="34" charset="0"/>
                </a:rPr>
                <a:t>$</a:t>
              </a:r>
              <a:endParaRPr lang="ru-RU" sz="1050" dirty="0" smtClean="0">
                <a:latin typeface="Impact" pitchFamily="34" charset="0"/>
              </a:endParaRPr>
            </a:p>
          </p:txBody>
        </p:sp>
        <p:sp>
          <p:nvSpPr>
            <p:cNvPr id="55" name="Rectangle 134"/>
            <p:cNvSpPr>
              <a:spLocks noChangeArrowheads="1"/>
            </p:cNvSpPr>
            <p:nvPr/>
          </p:nvSpPr>
          <p:spPr bwMode="auto">
            <a:xfrm>
              <a:off x="6879094" y="5407350"/>
              <a:ext cx="2160241" cy="1298642"/>
            </a:xfrm>
            <a:prstGeom prst="rect">
              <a:avLst/>
            </a:prstGeom>
            <a:solidFill>
              <a:schemeClr val="bg1">
                <a:lumMod val="85000"/>
                <a:alpha val="65000"/>
              </a:schemeClr>
            </a:solidFill>
            <a:ln w="3175">
              <a:noFill/>
              <a:miter lim="800000"/>
              <a:headEnd/>
              <a:tailEnd/>
            </a:ln>
          </p:spPr>
          <p:txBody>
            <a:bodyPr wrap="none" lIns="91418" tIns="45710" rIns="91418" bIns="45710" anchor="t" anchorCtr="0"/>
            <a:lstStyle/>
            <a:p>
              <a:pPr algn="ctr"/>
              <a:r>
                <a:rPr lang="en-US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Impact" pitchFamily="34" charset="0"/>
                </a:rPr>
                <a:t>TRANSIT OF FREIGHTS</a:t>
              </a:r>
            </a:p>
          </p:txBody>
        </p:sp>
        <p:sp>
          <p:nvSpPr>
            <p:cNvPr id="56" name="Пятиугольник 55"/>
            <p:cNvSpPr/>
            <p:nvPr/>
          </p:nvSpPr>
          <p:spPr>
            <a:xfrm rot="16200000">
              <a:off x="7028553" y="5751061"/>
              <a:ext cx="874981" cy="864096"/>
            </a:xfrm>
            <a:prstGeom prst="homePlate">
              <a:avLst/>
            </a:prstGeom>
            <a:solidFill>
              <a:srgbClr val="C000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ru-RU" sz="1100" dirty="0" smtClean="0">
                  <a:latin typeface="Impact" pitchFamily="34" charset="0"/>
                </a:rPr>
                <a:t>2013 </a:t>
              </a:r>
              <a:endParaRPr lang="en-US" sz="1100" dirty="0" smtClean="0">
                <a:latin typeface="Impact" pitchFamily="34" charset="0"/>
              </a:endParaRPr>
            </a:p>
            <a:p>
              <a:pPr algn="ctr"/>
              <a:r>
                <a:rPr lang="en-US" sz="1100" dirty="0" smtClean="0">
                  <a:latin typeface="Impact" pitchFamily="34" charset="0"/>
                </a:rPr>
                <a:t>-</a:t>
              </a:r>
            </a:p>
            <a:p>
              <a:pPr algn="ctr"/>
              <a:r>
                <a:rPr lang="ru-RU" sz="1100" dirty="0" smtClean="0">
                  <a:latin typeface="Impact" pitchFamily="34" charset="0"/>
                </a:rPr>
                <a:t>17,8</a:t>
              </a:r>
            </a:p>
            <a:p>
              <a:pPr algn="ctr"/>
              <a:r>
                <a:rPr lang="ru-RU" sz="1100" dirty="0" smtClean="0">
                  <a:latin typeface="Impact" pitchFamily="34" charset="0"/>
                </a:rPr>
                <a:t> </a:t>
              </a:r>
              <a:r>
                <a:rPr lang="en-US" sz="1050" dirty="0" err="1" smtClean="0">
                  <a:latin typeface="Impact" pitchFamily="34" charset="0"/>
                </a:rPr>
                <a:t>mln</a:t>
              </a:r>
              <a:r>
                <a:rPr lang="ru-RU" sz="1050" dirty="0" smtClean="0">
                  <a:latin typeface="Impact" pitchFamily="34" charset="0"/>
                </a:rPr>
                <a:t>.</a:t>
              </a:r>
              <a:r>
                <a:rPr lang="en-US" sz="1050" dirty="0" smtClean="0">
                  <a:latin typeface="Impact" pitchFamily="34" charset="0"/>
                </a:rPr>
                <a:t>tons</a:t>
              </a:r>
              <a:endParaRPr lang="ru-RU" sz="1050" dirty="0" smtClean="0">
                <a:latin typeface="Impact" pitchFamily="34" charset="0"/>
              </a:endParaRPr>
            </a:p>
          </p:txBody>
        </p:sp>
        <p:sp>
          <p:nvSpPr>
            <p:cNvPr id="57" name="Пятиугольник 56"/>
            <p:cNvSpPr/>
            <p:nvPr/>
          </p:nvSpPr>
          <p:spPr>
            <a:xfrm rot="16200000">
              <a:off x="7959216" y="5695383"/>
              <a:ext cx="1008109" cy="864096"/>
            </a:xfrm>
            <a:prstGeom prst="homePlate">
              <a:avLst/>
            </a:prstGeom>
            <a:solidFill>
              <a:srgbClr val="0066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ru-RU" sz="1200" dirty="0" smtClean="0">
                  <a:latin typeface="Impact" pitchFamily="34" charset="0"/>
                </a:rPr>
                <a:t>2020 </a:t>
              </a:r>
              <a:endParaRPr lang="en-US" sz="1200" dirty="0" smtClean="0">
                <a:latin typeface="Impact" pitchFamily="34" charset="0"/>
              </a:endParaRPr>
            </a:p>
            <a:p>
              <a:pPr algn="ctr"/>
              <a:r>
                <a:rPr lang="en-US" sz="1200" dirty="0" smtClean="0">
                  <a:latin typeface="Impact" pitchFamily="34" charset="0"/>
                </a:rPr>
                <a:t>-</a:t>
              </a:r>
            </a:p>
            <a:p>
              <a:pPr algn="ctr"/>
              <a:r>
                <a:rPr lang="ru-RU" sz="1200" dirty="0" smtClean="0">
                  <a:latin typeface="Impact" pitchFamily="34" charset="0"/>
                </a:rPr>
                <a:t>30</a:t>
              </a:r>
              <a:r>
                <a:rPr lang="en-US" sz="1200" dirty="0" smtClean="0">
                  <a:latin typeface="Impact" pitchFamily="34" charset="0"/>
                </a:rPr>
                <a:t> </a:t>
              </a:r>
              <a:br>
                <a:rPr lang="en-US" sz="1200" dirty="0" smtClean="0">
                  <a:latin typeface="Impact" pitchFamily="34" charset="0"/>
                </a:rPr>
              </a:br>
              <a:r>
                <a:rPr lang="en-US" sz="1050" dirty="0" err="1" smtClean="0">
                  <a:latin typeface="Impact" pitchFamily="34" charset="0"/>
                </a:rPr>
                <a:t>mln</a:t>
              </a:r>
              <a:r>
                <a:rPr lang="ru-RU" sz="1050" dirty="0" smtClean="0">
                  <a:latin typeface="Impact" pitchFamily="34" charset="0"/>
                </a:rPr>
                <a:t>. </a:t>
              </a:r>
              <a:r>
                <a:rPr lang="en-US" sz="1050" dirty="0" smtClean="0">
                  <a:latin typeface="Impact" pitchFamily="34" charset="0"/>
                </a:rPr>
                <a:t>tons</a:t>
              </a:r>
              <a:endParaRPr lang="ru-RU" sz="1200" dirty="0" smtClean="0">
                <a:latin typeface="Impact" pitchFamily="34" charset="0"/>
              </a:endParaRPr>
            </a:p>
          </p:txBody>
        </p:sp>
      </p:grpSp>
      <p:pic>
        <p:nvPicPr>
          <p:cNvPr id="58" name="Picture 10" descr="http://tour-click.ru/images/s_Republic_of_China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908" y="4005064"/>
            <a:ext cx="610524" cy="39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76202" y="561307"/>
            <a:ext cx="5508104" cy="646331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In the short term the essential and qualitative increase in transit freight traffic through Kazakhstan is supposed at the expense of increase in freight traffic between Asia and Europe</a:t>
            </a:r>
          </a:p>
        </p:txBody>
      </p:sp>
      <p:grpSp>
        <p:nvGrpSpPr>
          <p:cNvPr id="111" name="Группа 110"/>
          <p:cNvGrpSpPr/>
          <p:nvPr/>
        </p:nvGrpSpPr>
        <p:grpSpPr>
          <a:xfrm>
            <a:off x="2725758" y="5459592"/>
            <a:ext cx="3175044" cy="1292662"/>
            <a:chOff x="2549084" y="5459592"/>
            <a:chExt cx="3175044" cy="1292662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2791269" y="5459592"/>
              <a:ext cx="2932859" cy="1292662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en-US" sz="1400" dirty="0" smtClean="0">
                  <a:solidFill>
                    <a:srgbClr val="C00000"/>
                  </a:solidFill>
                  <a:latin typeface="Impact" pitchFamily="34" charset="0"/>
                </a:rPr>
                <a:t>Goal</a:t>
              </a:r>
              <a:r>
                <a:rPr lang="ru-RU" sz="1400" dirty="0" smtClean="0">
                  <a:solidFill>
                    <a:srgbClr val="C00000"/>
                  </a:solidFill>
                  <a:latin typeface="Impact" pitchFamily="34" charset="0"/>
                </a:rPr>
                <a:t>: </a:t>
              </a:r>
            </a:p>
            <a:p>
              <a:r>
                <a:rPr lang="en-US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Impact" pitchFamily="34" charset="0"/>
                </a:rPr>
                <a:t>Increase of the Kazakhstan share in EU-PRC-EU transportations </a:t>
              </a:r>
            </a:p>
            <a:p>
              <a:r>
                <a:rPr lang="en-US" dirty="0" smtClean="0">
                  <a:solidFill>
                    <a:srgbClr val="006600"/>
                  </a:solidFill>
                  <a:latin typeface="Impact" pitchFamily="34" charset="0"/>
                </a:rPr>
                <a:t>by 2020 to 5%, </a:t>
              </a:r>
            </a:p>
            <a:p>
              <a:r>
                <a:rPr lang="en-US" dirty="0" smtClean="0">
                  <a:solidFill>
                    <a:srgbClr val="006600"/>
                  </a:solidFill>
                  <a:latin typeface="Impact" pitchFamily="34" charset="0"/>
                </a:rPr>
                <a:t>and by 2030 to 10%</a:t>
              </a:r>
            </a:p>
          </p:txBody>
        </p:sp>
        <p:pic>
          <p:nvPicPr>
            <p:cNvPr id="61" name="Picture 20" descr="C:\Documents and Settings\Admin\Мои документы\For prezentations\arrows\tick_64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549084" y="5513697"/>
              <a:ext cx="284162" cy="284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8" name="AutoShape 84"/>
          <p:cNvSpPr>
            <a:spLocks noChangeArrowheads="1"/>
          </p:cNvSpPr>
          <p:nvPr/>
        </p:nvSpPr>
        <p:spPr bwMode="auto">
          <a:xfrm>
            <a:off x="4222846" y="2846244"/>
            <a:ext cx="558450" cy="144016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800" dirty="0" smtClean="0">
                <a:solidFill>
                  <a:schemeClr val="tx2"/>
                </a:solidFill>
                <a:latin typeface="Impact" pitchFamily="34" charset="0"/>
              </a:rPr>
              <a:t>Astrakhan</a:t>
            </a:r>
            <a:endParaRPr lang="ru-RU" sz="8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1" name="AutoShape 84"/>
          <p:cNvSpPr>
            <a:spLocks noChangeArrowheads="1"/>
          </p:cNvSpPr>
          <p:nvPr/>
        </p:nvSpPr>
        <p:spPr bwMode="auto">
          <a:xfrm>
            <a:off x="3690326" y="3058074"/>
            <a:ext cx="504056" cy="144016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/>
            <a:r>
              <a:rPr lang="en-US" sz="800" dirty="0" smtClean="0">
                <a:solidFill>
                  <a:schemeClr val="tx2"/>
                </a:solidFill>
                <a:latin typeface="Impact" pitchFamily="34" charset="0"/>
              </a:rPr>
              <a:t>Istanbul	</a:t>
            </a:r>
            <a:endParaRPr lang="ru-RU" sz="800" dirty="0" smtClean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2" name="AutoShape 86"/>
          <p:cNvSpPr>
            <a:spLocks noChangeArrowheads="1"/>
          </p:cNvSpPr>
          <p:nvPr/>
        </p:nvSpPr>
        <p:spPr bwMode="auto">
          <a:xfrm>
            <a:off x="5068547" y="4149081"/>
            <a:ext cx="655581" cy="144016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700" dirty="0" smtClean="0">
                <a:solidFill>
                  <a:schemeClr val="tx2"/>
                </a:solidFill>
                <a:latin typeface="Impact" pitchFamily="34" charset="0"/>
              </a:rPr>
              <a:t>Bandar </a:t>
            </a:r>
            <a:r>
              <a:rPr lang="en-US" sz="700" dirty="0" err="1" smtClean="0">
                <a:solidFill>
                  <a:schemeClr val="tx2"/>
                </a:solidFill>
                <a:latin typeface="Impact" pitchFamily="34" charset="0"/>
              </a:rPr>
              <a:t>Abbas</a:t>
            </a:r>
            <a:endParaRPr lang="ru-RU" sz="7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3" name="AutoShape 85"/>
          <p:cNvSpPr>
            <a:spLocks noChangeArrowheads="1"/>
          </p:cNvSpPr>
          <p:nvPr/>
        </p:nvSpPr>
        <p:spPr bwMode="auto">
          <a:xfrm>
            <a:off x="5508104" y="3861048"/>
            <a:ext cx="288032" cy="144016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/>
            <a:r>
              <a:rPr lang="en-US" sz="700" dirty="0" err="1" smtClean="0">
                <a:solidFill>
                  <a:schemeClr val="tx2"/>
                </a:solidFill>
                <a:latin typeface="Impact" pitchFamily="34" charset="0"/>
              </a:rPr>
              <a:t>Serakhs</a:t>
            </a:r>
            <a:endParaRPr lang="ru-RU" sz="7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5" name="Полилиния 74"/>
          <p:cNvSpPr/>
          <p:nvPr/>
        </p:nvSpPr>
        <p:spPr>
          <a:xfrm>
            <a:off x="5138057" y="2090057"/>
            <a:ext cx="1436914" cy="740229"/>
          </a:xfrm>
          <a:custGeom>
            <a:avLst/>
            <a:gdLst>
              <a:gd name="connsiteX0" fmla="*/ 1436914 w 1436914"/>
              <a:gd name="connsiteY0" fmla="*/ 740229 h 740229"/>
              <a:gd name="connsiteX1" fmla="*/ 1186543 w 1436914"/>
              <a:gd name="connsiteY1" fmla="*/ 642257 h 740229"/>
              <a:gd name="connsiteX2" fmla="*/ 783772 w 1436914"/>
              <a:gd name="connsiteY2" fmla="*/ 533400 h 740229"/>
              <a:gd name="connsiteX3" fmla="*/ 598714 w 1436914"/>
              <a:gd name="connsiteY3" fmla="*/ 435429 h 740229"/>
              <a:gd name="connsiteX4" fmla="*/ 326572 w 1436914"/>
              <a:gd name="connsiteY4" fmla="*/ 152400 h 740229"/>
              <a:gd name="connsiteX5" fmla="*/ 0 w 1436914"/>
              <a:gd name="connsiteY5" fmla="*/ 0 h 74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36914" h="740229">
                <a:moveTo>
                  <a:pt x="1436914" y="740229"/>
                </a:moveTo>
                <a:cubicBezTo>
                  <a:pt x="1366157" y="708479"/>
                  <a:pt x="1295400" y="676729"/>
                  <a:pt x="1186543" y="642257"/>
                </a:cubicBezTo>
                <a:cubicBezTo>
                  <a:pt x="1077686" y="607786"/>
                  <a:pt x="881743" y="567871"/>
                  <a:pt x="783772" y="533400"/>
                </a:cubicBezTo>
                <a:cubicBezTo>
                  <a:pt x="685801" y="498929"/>
                  <a:pt x="674914" y="498929"/>
                  <a:pt x="598714" y="435429"/>
                </a:cubicBezTo>
                <a:cubicBezTo>
                  <a:pt x="522514" y="371929"/>
                  <a:pt x="426358" y="224971"/>
                  <a:pt x="326572" y="152400"/>
                </a:cubicBezTo>
                <a:cubicBezTo>
                  <a:pt x="226786" y="79829"/>
                  <a:pt x="113393" y="39914"/>
                  <a:pt x="0" y="0"/>
                </a:cubicBezTo>
              </a:path>
            </a:pathLst>
          </a:custGeom>
          <a:ln w="38100">
            <a:solidFill>
              <a:srgbClr val="FF0000">
                <a:alpha val="45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олилиния 75"/>
          <p:cNvSpPr/>
          <p:nvPr/>
        </p:nvSpPr>
        <p:spPr>
          <a:xfrm>
            <a:off x="4408714" y="2438400"/>
            <a:ext cx="936172" cy="1709057"/>
          </a:xfrm>
          <a:custGeom>
            <a:avLst/>
            <a:gdLst>
              <a:gd name="connsiteX0" fmla="*/ 936172 w 936172"/>
              <a:gd name="connsiteY0" fmla="*/ 1709057 h 1709057"/>
              <a:gd name="connsiteX1" fmla="*/ 838200 w 936172"/>
              <a:gd name="connsiteY1" fmla="*/ 1273629 h 1709057"/>
              <a:gd name="connsiteX2" fmla="*/ 685800 w 936172"/>
              <a:gd name="connsiteY2" fmla="*/ 1088571 h 1709057"/>
              <a:gd name="connsiteX3" fmla="*/ 555172 w 936172"/>
              <a:gd name="connsiteY3" fmla="*/ 772886 h 1709057"/>
              <a:gd name="connsiteX4" fmla="*/ 402772 w 936172"/>
              <a:gd name="connsiteY4" fmla="*/ 522514 h 1709057"/>
              <a:gd name="connsiteX5" fmla="*/ 337457 w 936172"/>
              <a:gd name="connsiteY5" fmla="*/ 370114 h 1709057"/>
              <a:gd name="connsiteX6" fmla="*/ 163286 w 936172"/>
              <a:gd name="connsiteY6" fmla="*/ 97971 h 1709057"/>
              <a:gd name="connsiteX7" fmla="*/ 0 w 936172"/>
              <a:gd name="connsiteY7" fmla="*/ 0 h 1709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36172" h="1709057">
                <a:moveTo>
                  <a:pt x="936172" y="1709057"/>
                </a:moveTo>
                <a:cubicBezTo>
                  <a:pt x="908050" y="1543050"/>
                  <a:pt x="879929" y="1377043"/>
                  <a:pt x="838200" y="1273629"/>
                </a:cubicBezTo>
                <a:cubicBezTo>
                  <a:pt x="796471" y="1170215"/>
                  <a:pt x="732971" y="1172028"/>
                  <a:pt x="685800" y="1088571"/>
                </a:cubicBezTo>
                <a:cubicBezTo>
                  <a:pt x="638629" y="1005114"/>
                  <a:pt x="602343" y="867229"/>
                  <a:pt x="555172" y="772886"/>
                </a:cubicBezTo>
                <a:cubicBezTo>
                  <a:pt x="508001" y="678543"/>
                  <a:pt x="439058" y="589643"/>
                  <a:pt x="402772" y="522514"/>
                </a:cubicBezTo>
                <a:cubicBezTo>
                  <a:pt x="366486" y="455385"/>
                  <a:pt x="377371" y="440871"/>
                  <a:pt x="337457" y="370114"/>
                </a:cubicBezTo>
                <a:cubicBezTo>
                  <a:pt x="297543" y="299357"/>
                  <a:pt x="219529" y="159657"/>
                  <a:pt x="163286" y="97971"/>
                </a:cubicBezTo>
                <a:cubicBezTo>
                  <a:pt x="107043" y="36285"/>
                  <a:pt x="53521" y="18142"/>
                  <a:pt x="0" y="0"/>
                </a:cubicBezTo>
              </a:path>
            </a:pathLst>
          </a:custGeom>
          <a:ln w="38100">
            <a:solidFill>
              <a:srgbClr val="006600">
                <a:alpha val="45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олилиния 76"/>
          <p:cNvSpPr/>
          <p:nvPr/>
        </p:nvSpPr>
        <p:spPr>
          <a:xfrm>
            <a:off x="5562600" y="2895600"/>
            <a:ext cx="936171" cy="740229"/>
          </a:xfrm>
          <a:custGeom>
            <a:avLst/>
            <a:gdLst>
              <a:gd name="connsiteX0" fmla="*/ 936171 w 936171"/>
              <a:gd name="connsiteY0" fmla="*/ 0 h 740229"/>
              <a:gd name="connsiteX1" fmla="*/ 631371 w 936171"/>
              <a:gd name="connsiteY1" fmla="*/ 43543 h 740229"/>
              <a:gd name="connsiteX2" fmla="*/ 446314 w 936171"/>
              <a:gd name="connsiteY2" fmla="*/ 76200 h 740229"/>
              <a:gd name="connsiteX3" fmla="*/ 185057 w 936171"/>
              <a:gd name="connsiteY3" fmla="*/ 163286 h 740229"/>
              <a:gd name="connsiteX4" fmla="*/ 87086 w 936171"/>
              <a:gd name="connsiteY4" fmla="*/ 522514 h 740229"/>
              <a:gd name="connsiteX5" fmla="*/ 0 w 936171"/>
              <a:gd name="connsiteY5" fmla="*/ 740229 h 74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6171" h="740229">
                <a:moveTo>
                  <a:pt x="936171" y="0"/>
                </a:moveTo>
                <a:lnTo>
                  <a:pt x="631371" y="43543"/>
                </a:lnTo>
                <a:cubicBezTo>
                  <a:pt x="549728" y="56243"/>
                  <a:pt x="520700" y="56243"/>
                  <a:pt x="446314" y="76200"/>
                </a:cubicBezTo>
                <a:cubicBezTo>
                  <a:pt x="371928" y="96157"/>
                  <a:pt x="244928" y="88900"/>
                  <a:pt x="185057" y="163286"/>
                </a:cubicBezTo>
                <a:cubicBezTo>
                  <a:pt x="125186" y="237672"/>
                  <a:pt x="117929" y="426357"/>
                  <a:pt x="87086" y="522514"/>
                </a:cubicBezTo>
                <a:cubicBezTo>
                  <a:pt x="56243" y="618671"/>
                  <a:pt x="28121" y="679450"/>
                  <a:pt x="0" y="740229"/>
                </a:cubicBezTo>
              </a:path>
            </a:pathLst>
          </a:custGeom>
          <a:ln w="38100">
            <a:solidFill>
              <a:schemeClr val="tx1">
                <a:alpha val="45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олилиния 77"/>
          <p:cNvSpPr/>
          <p:nvPr/>
        </p:nvSpPr>
        <p:spPr>
          <a:xfrm>
            <a:off x="4942114" y="2198914"/>
            <a:ext cx="609600" cy="1306286"/>
          </a:xfrm>
          <a:custGeom>
            <a:avLst/>
            <a:gdLst>
              <a:gd name="connsiteX0" fmla="*/ 609600 w 609600"/>
              <a:gd name="connsiteY0" fmla="*/ 1306286 h 1306286"/>
              <a:gd name="connsiteX1" fmla="*/ 522515 w 609600"/>
              <a:gd name="connsiteY1" fmla="*/ 892629 h 1306286"/>
              <a:gd name="connsiteX2" fmla="*/ 250372 w 609600"/>
              <a:gd name="connsiteY2" fmla="*/ 544286 h 1306286"/>
              <a:gd name="connsiteX3" fmla="*/ 87086 w 609600"/>
              <a:gd name="connsiteY3" fmla="*/ 152400 h 1306286"/>
              <a:gd name="connsiteX4" fmla="*/ 0 w 609600"/>
              <a:gd name="connsiteY4" fmla="*/ 0 h 1306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" h="1306286">
                <a:moveTo>
                  <a:pt x="609600" y="1306286"/>
                </a:moveTo>
                <a:cubicBezTo>
                  <a:pt x="595993" y="1162957"/>
                  <a:pt x="582386" y="1019629"/>
                  <a:pt x="522515" y="892629"/>
                </a:cubicBezTo>
                <a:cubicBezTo>
                  <a:pt x="462644" y="765629"/>
                  <a:pt x="322943" y="667657"/>
                  <a:pt x="250372" y="544286"/>
                </a:cubicBezTo>
                <a:cubicBezTo>
                  <a:pt x="177801" y="420915"/>
                  <a:pt x="128815" y="243114"/>
                  <a:pt x="87086" y="152400"/>
                </a:cubicBezTo>
                <a:cubicBezTo>
                  <a:pt x="45357" y="61686"/>
                  <a:pt x="22678" y="30843"/>
                  <a:pt x="0" y="0"/>
                </a:cubicBezTo>
              </a:path>
            </a:pathLst>
          </a:custGeom>
          <a:ln w="38100">
            <a:solidFill>
              <a:srgbClr val="0070C0">
                <a:alpha val="45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олилиния 78"/>
          <p:cNvSpPr/>
          <p:nvPr/>
        </p:nvSpPr>
        <p:spPr>
          <a:xfrm>
            <a:off x="4354286" y="2748643"/>
            <a:ext cx="2100943" cy="306614"/>
          </a:xfrm>
          <a:custGeom>
            <a:avLst/>
            <a:gdLst>
              <a:gd name="connsiteX0" fmla="*/ 2100943 w 2100943"/>
              <a:gd name="connsiteY0" fmla="*/ 103414 h 306614"/>
              <a:gd name="connsiteX1" fmla="*/ 1741714 w 2100943"/>
              <a:gd name="connsiteY1" fmla="*/ 103414 h 306614"/>
              <a:gd name="connsiteX2" fmla="*/ 1415143 w 2100943"/>
              <a:gd name="connsiteY2" fmla="*/ 48986 h 306614"/>
              <a:gd name="connsiteX3" fmla="*/ 1012371 w 2100943"/>
              <a:gd name="connsiteY3" fmla="*/ 5443 h 306614"/>
              <a:gd name="connsiteX4" fmla="*/ 696685 w 2100943"/>
              <a:gd name="connsiteY4" fmla="*/ 81643 h 306614"/>
              <a:gd name="connsiteX5" fmla="*/ 576943 w 2100943"/>
              <a:gd name="connsiteY5" fmla="*/ 255814 h 306614"/>
              <a:gd name="connsiteX6" fmla="*/ 141514 w 2100943"/>
              <a:gd name="connsiteY6" fmla="*/ 299357 h 306614"/>
              <a:gd name="connsiteX7" fmla="*/ 0 w 2100943"/>
              <a:gd name="connsiteY7" fmla="*/ 299357 h 306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0943" h="306614">
                <a:moveTo>
                  <a:pt x="2100943" y="103414"/>
                </a:moveTo>
                <a:cubicBezTo>
                  <a:pt x="1978478" y="107949"/>
                  <a:pt x="1856014" y="112485"/>
                  <a:pt x="1741714" y="103414"/>
                </a:cubicBezTo>
                <a:cubicBezTo>
                  <a:pt x="1627414" y="94343"/>
                  <a:pt x="1536700" y="65314"/>
                  <a:pt x="1415143" y="48986"/>
                </a:cubicBezTo>
                <a:cubicBezTo>
                  <a:pt x="1293586" y="32658"/>
                  <a:pt x="1132114" y="0"/>
                  <a:pt x="1012371" y="5443"/>
                </a:cubicBezTo>
                <a:cubicBezTo>
                  <a:pt x="892628" y="10886"/>
                  <a:pt x="769256" y="39915"/>
                  <a:pt x="696685" y="81643"/>
                </a:cubicBezTo>
                <a:cubicBezTo>
                  <a:pt x="624114" y="123371"/>
                  <a:pt x="669471" y="219528"/>
                  <a:pt x="576943" y="255814"/>
                </a:cubicBezTo>
                <a:cubicBezTo>
                  <a:pt x="484415" y="292100"/>
                  <a:pt x="237671" y="292100"/>
                  <a:pt x="141514" y="299357"/>
                </a:cubicBezTo>
                <a:cubicBezTo>
                  <a:pt x="45357" y="306614"/>
                  <a:pt x="22678" y="302985"/>
                  <a:pt x="0" y="299357"/>
                </a:cubicBezTo>
              </a:path>
            </a:pathLst>
          </a:custGeom>
          <a:ln w="38100">
            <a:solidFill>
              <a:srgbClr val="FF9900">
                <a:alpha val="70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AutoShape 84"/>
          <p:cNvSpPr>
            <a:spLocks noChangeArrowheads="1"/>
          </p:cNvSpPr>
          <p:nvPr/>
        </p:nvSpPr>
        <p:spPr bwMode="auto">
          <a:xfrm>
            <a:off x="5584306" y="2486204"/>
            <a:ext cx="360040" cy="15070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800" dirty="0" smtClean="0">
                <a:solidFill>
                  <a:srgbClr val="C00000"/>
                </a:solidFill>
                <a:latin typeface="Impact" pitchFamily="34" charset="0"/>
              </a:rPr>
              <a:t>ASTANA</a:t>
            </a:r>
            <a:endParaRPr lang="ru-RU" sz="800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65" name="AutoShape 84"/>
          <p:cNvSpPr>
            <a:spLocks noChangeArrowheads="1"/>
          </p:cNvSpPr>
          <p:nvPr/>
        </p:nvSpPr>
        <p:spPr bwMode="auto">
          <a:xfrm>
            <a:off x="6145326" y="2669570"/>
            <a:ext cx="414434" cy="122244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700" dirty="0" err="1" smtClean="0">
                <a:solidFill>
                  <a:schemeClr val="tx2"/>
                </a:solidFill>
                <a:latin typeface="Impact" pitchFamily="34" charset="0"/>
              </a:rPr>
              <a:t>Dostyk</a:t>
            </a:r>
            <a:endParaRPr lang="ru-RU" sz="7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69" name="AutoShape 84"/>
          <p:cNvSpPr>
            <a:spLocks noChangeArrowheads="1"/>
          </p:cNvSpPr>
          <p:nvPr/>
        </p:nvSpPr>
        <p:spPr bwMode="auto">
          <a:xfrm>
            <a:off x="4809796" y="2940024"/>
            <a:ext cx="342426" cy="144015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800" dirty="0" err="1" smtClean="0">
                <a:solidFill>
                  <a:schemeClr val="tx2"/>
                </a:solidFill>
                <a:latin typeface="Impact" pitchFamily="34" charset="0"/>
              </a:rPr>
              <a:t>Aktau</a:t>
            </a:r>
            <a:endParaRPr lang="ru-RU" sz="8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0" name="AutoShape 84"/>
          <p:cNvSpPr>
            <a:spLocks noChangeArrowheads="1"/>
          </p:cNvSpPr>
          <p:nvPr/>
        </p:nvSpPr>
        <p:spPr bwMode="auto">
          <a:xfrm>
            <a:off x="4669974" y="3079846"/>
            <a:ext cx="342426" cy="150627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800" dirty="0" err="1" smtClean="0">
                <a:solidFill>
                  <a:schemeClr val="tx2"/>
                </a:solidFill>
                <a:latin typeface="Impact" pitchFamily="34" charset="0"/>
              </a:rPr>
              <a:t>BAku</a:t>
            </a:r>
            <a:endParaRPr lang="ru-RU" sz="800" dirty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74" name="AutoShape 94"/>
          <p:cNvSpPr>
            <a:spLocks noChangeArrowheads="1"/>
          </p:cNvSpPr>
          <p:nvPr/>
        </p:nvSpPr>
        <p:spPr bwMode="auto">
          <a:xfrm>
            <a:off x="6455094" y="2957602"/>
            <a:ext cx="370926" cy="111358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700" dirty="0" err="1" smtClean="0">
                <a:solidFill>
                  <a:schemeClr val="tx2"/>
                </a:solidFill>
                <a:latin typeface="Impact" pitchFamily="34" charset="0"/>
              </a:rPr>
              <a:t>Ürümqi</a:t>
            </a:r>
            <a:endParaRPr lang="en-US" sz="700" dirty="0" smtClean="0">
              <a:solidFill>
                <a:schemeClr val="tx2"/>
              </a:solidFill>
              <a:latin typeface="Impact" pitchFamily="34" charset="0"/>
            </a:endParaRPr>
          </a:p>
        </p:txBody>
      </p:sp>
      <p:sp>
        <p:nvSpPr>
          <p:cNvPr id="64" name="AutoShape 84"/>
          <p:cNvSpPr>
            <a:spLocks noChangeArrowheads="1"/>
          </p:cNvSpPr>
          <p:nvPr/>
        </p:nvSpPr>
        <p:spPr bwMode="auto">
          <a:xfrm>
            <a:off x="6080010" y="2863822"/>
            <a:ext cx="342426" cy="144016"/>
          </a:xfrm>
          <a:prstGeom prst="roundRect">
            <a:avLst>
              <a:gd name="adj" fmla="val 16667"/>
            </a:avLst>
          </a:prstGeom>
          <a:solidFill>
            <a:srgbClr val="FFFFFF">
              <a:alpha val="79999"/>
            </a:srgbClr>
          </a:solidFill>
          <a:ln w="6350" algn="ctr">
            <a:noFill/>
            <a:prstDash val="sysDot"/>
            <a:round/>
            <a:headEnd/>
            <a:tailEnd/>
          </a:ln>
        </p:spPr>
        <p:txBody>
          <a:bodyPr wrap="none" lIns="91418" tIns="45710" rIns="91418" bIns="45710" anchor="ctr"/>
          <a:lstStyle/>
          <a:p>
            <a:pPr algn="ctr">
              <a:buFont typeface="Times New Roman" pitchFamily="18" charset="0"/>
              <a:buNone/>
            </a:pPr>
            <a:r>
              <a:rPr lang="en-US" sz="700" dirty="0" err="1" smtClean="0">
                <a:solidFill>
                  <a:schemeClr val="tx2"/>
                </a:solidFill>
                <a:latin typeface="Impact" pitchFamily="34" charset="0"/>
              </a:rPr>
              <a:t>Khorgos</a:t>
            </a:r>
            <a:endParaRPr lang="ru-RU" sz="700" dirty="0">
              <a:solidFill>
                <a:schemeClr val="tx2"/>
              </a:solidFill>
              <a:latin typeface="Impact" pitchFamily="34" charset="0"/>
            </a:endParaRPr>
          </a:p>
        </p:txBody>
      </p:sp>
      <p:grpSp>
        <p:nvGrpSpPr>
          <p:cNvPr id="110" name="Группа 109"/>
          <p:cNvGrpSpPr/>
          <p:nvPr/>
        </p:nvGrpSpPr>
        <p:grpSpPr>
          <a:xfrm>
            <a:off x="6084168" y="5935896"/>
            <a:ext cx="2948473" cy="900865"/>
            <a:chOff x="6084168" y="5935896"/>
            <a:chExt cx="2948473" cy="900865"/>
          </a:xfrm>
        </p:grpSpPr>
        <p:grpSp>
          <p:nvGrpSpPr>
            <p:cNvPr id="33" name="Группа 32"/>
            <p:cNvGrpSpPr/>
            <p:nvPr/>
          </p:nvGrpSpPr>
          <p:grpSpPr>
            <a:xfrm>
              <a:off x="6084168" y="5935896"/>
              <a:ext cx="2948473" cy="900865"/>
              <a:chOff x="5436097" y="764704"/>
              <a:chExt cx="2948473" cy="900865"/>
            </a:xfrm>
          </p:grpSpPr>
          <p:sp>
            <p:nvSpPr>
              <p:cNvPr id="34" name="AutoShape 121"/>
              <p:cNvSpPr>
                <a:spLocks noChangeArrowheads="1"/>
              </p:cNvSpPr>
              <p:nvPr/>
            </p:nvSpPr>
            <p:spPr bwMode="auto">
              <a:xfrm>
                <a:off x="5436097" y="764704"/>
                <a:ext cx="2647860" cy="900865"/>
              </a:xfrm>
              <a:prstGeom prst="flowChartAlternateProcess">
                <a:avLst/>
              </a:prstGeom>
              <a:solidFill>
                <a:srgbClr val="FFFFFF">
                  <a:alpha val="70000"/>
                </a:srgbClr>
              </a:solidFill>
              <a:ln w="6350">
                <a:noFill/>
                <a:prstDash val="sysDot"/>
                <a:miter lim="800000"/>
                <a:headEnd/>
                <a:tailEnd/>
              </a:ln>
            </p:spPr>
            <p:txBody>
              <a:bodyPr wrap="none" lIns="91429" tIns="45715" rIns="91429" bIns="45715" anchor="ctr"/>
              <a:lstStyle/>
              <a:p>
                <a:endParaRPr lang="ru-RU" sz="2000">
                  <a:latin typeface="Impact" pitchFamily="34" charset="0"/>
                </a:endParaRPr>
              </a:p>
            </p:txBody>
          </p:sp>
          <p:sp>
            <p:nvSpPr>
              <p:cNvPr id="36" name="Rectangle 99"/>
              <p:cNvSpPr>
                <a:spLocks noChangeArrowheads="1"/>
              </p:cNvSpPr>
              <p:nvPr/>
            </p:nvSpPr>
            <p:spPr bwMode="auto">
              <a:xfrm>
                <a:off x="5696806" y="835514"/>
                <a:ext cx="1024642" cy="23073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53994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TRACECA</a:t>
                </a:r>
                <a:endParaRPr lang="ru-RU" sz="900" dirty="0">
                  <a:latin typeface="Impact" pitchFamily="34" charset="0"/>
                </a:endParaRPr>
              </a:p>
            </p:txBody>
          </p:sp>
          <p:sp>
            <p:nvSpPr>
              <p:cNvPr id="38" name="Rectangle 101"/>
              <p:cNvSpPr>
                <a:spLocks noChangeArrowheads="1"/>
              </p:cNvSpPr>
              <p:nvPr/>
            </p:nvSpPr>
            <p:spPr bwMode="auto">
              <a:xfrm>
                <a:off x="5709088" y="1084068"/>
                <a:ext cx="1124878" cy="23073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53994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North</a:t>
                </a:r>
                <a:r>
                  <a:rPr lang="ru-RU" sz="900" dirty="0" smtClean="0">
                    <a:latin typeface="Impact" pitchFamily="34" charset="0"/>
                  </a:rPr>
                  <a:t>- </a:t>
                </a:r>
                <a:r>
                  <a:rPr lang="en-US" sz="900" dirty="0" smtClean="0">
                    <a:latin typeface="Impact" pitchFamily="34" charset="0"/>
                  </a:rPr>
                  <a:t>South</a:t>
                </a:r>
                <a:endParaRPr lang="ru-RU" sz="900" dirty="0">
                  <a:latin typeface="Impact" pitchFamily="34" charset="0"/>
                </a:endParaRPr>
              </a:p>
            </p:txBody>
          </p:sp>
          <p:sp>
            <p:nvSpPr>
              <p:cNvPr id="40" name="Rectangle 103"/>
              <p:cNvSpPr>
                <a:spLocks noChangeArrowheads="1"/>
              </p:cNvSpPr>
              <p:nvPr/>
            </p:nvSpPr>
            <p:spPr bwMode="auto">
              <a:xfrm>
                <a:off x="5701728" y="1275012"/>
                <a:ext cx="1438953" cy="3693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53994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Middle Asian (Central) corridor</a:t>
                </a:r>
                <a:endParaRPr lang="ru-RU" sz="900" dirty="0">
                  <a:latin typeface="Impact" pitchFamily="34" charset="0"/>
                </a:endParaRPr>
              </a:p>
            </p:txBody>
          </p:sp>
          <p:sp>
            <p:nvSpPr>
              <p:cNvPr id="43" name="Rectangle 107"/>
              <p:cNvSpPr>
                <a:spLocks noChangeArrowheads="1"/>
              </p:cNvSpPr>
              <p:nvPr/>
            </p:nvSpPr>
            <p:spPr bwMode="auto">
              <a:xfrm>
                <a:off x="7330479" y="785785"/>
                <a:ext cx="1054091" cy="3693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North corridor</a:t>
                </a:r>
              </a:p>
              <a:p>
                <a:r>
                  <a:rPr lang="en-US" sz="900" dirty="0" smtClean="0">
                    <a:latin typeface="Impact" pitchFamily="34" charset="0"/>
                  </a:rPr>
                  <a:t>TAR</a:t>
                </a:r>
                <a:endParaRPr lang="ru-RU" sz="900" dirty="0">
                  <a:latin typeface="Impact" pitchFamily="34" charset="0"/>
                </a:endParaRPr>
              </a:p>
            </p:txBody>
          </p:sp>
          <p:sp>
            <p:nvSpPr>
              <p:cNvPr id="45" name="Rectangle 106"/>
              <p:cNvSpPr>
                <a:spLocks noChangeArrowheads="1"/>
              </p:cNvSpPr>
              <p:nvPr/>
            </p:nvSpPr>
            <p:spPr bwMode="auto">
              <a:xfrm>
                <a:off x="7274290" y="1083069"/>
                <a:ext cx="1013663" cy="36932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53994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South corridor</a:t>
                </a:r>
              </a:p>
              <a:p>
                <a:r>
                  <a:rPr lang="en-US" sz="900" dirty="0" smtClean="0">
                    <a:latin typeface="Impact" pitchFamily="34" charset="0"/>
                  </a:rPr>
                  <a:t>TAR</a:t>
                </a:r>
                <a:endParaRPr lang="ru-RU" sz="900" dirty="0">
                  <a:latin typeface="Impact" pitchFamily="34" charset="0"/>
                </a:endParaRPr>
              </a:p>
            </p:txBody>
          </p:sp>
          <p:sp>
            <p:nvSpPr>
              <p:cNvPr id="47" name="Rectangle 101"/>
              <p:cNvSpPr>
                <a:spLocks noChangeArrowheads="1"/>
              </p:cNvSpPr>
              <p:nvPr/>
            </p:nvSpPr>
            <p:spPr bwMode="auto">
              <a:xfrm>
                <a:off x="7278550" y="1392419"/>
                <a:ext cx="683837" cy="23073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lIns="53994" tIns="45715" rIns="53994" bIns="45715" anchor="ctr">
                <a:spAutoFit/>
              </a:bodyPr>
              <a:lstStyle/>
              <a:p>
                <a:r>
                  <a:rPr lang="en-US" sz="900" dirty="0" smtClean="0">
                    <a:latin typeface="Impact" pitchFamily="34" charset="0"/>
                  </a:rPr>
                  <a:t>WE</a:t>
                </a:r>
                <a:r>
                  <a:rPr lang="ru-RU" sz="900" dirty="0" smtClean="0">
                    <a:latin typeface="Impact" pitchFamily="34" charset="0"/>
                  </a:rPr>
                  <a:t>- </a:t>
                </a:r>
                <a:r>
                  <a:rPr lang="en-US" sz="900" dirty="0" smtClean="0">
                    <a:latin typeface="Impact" pitchFamily="34" charset="0"/>
                  </a:rPr>
                  <a:t>WC</a:t>
                </a:r>
                <a:endParaRPr lang="ru-RU" sz="900" dirty="0">
                  <a:latin typeface="Impact" pitchFamily="34" charset="0"/>
                </a:endParaRPr>
              </a:p>
            </p:txBody>
          </p:sp>
        </p:grpSp>
        <p:sp>
          <p:nvSpPr>
            <p:cNvPr id="91" name="Прямоугольник 90"/>
            <p:cNvSpPr/>
            <p:nvPr/>
          </p:nvSpPr>
          <p:spPr>
            <a:xfrm>
              <a:off x="6134404" y="6075718"/>
              <a:ext cx="216024" cy="72008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6134404" y="6326898"/>
              <a:ext cx="216024" cy="72008"/>
            </a:xfrm>
            <a:prstGeom prst="rect">
              <a:avLst/>
            </a:prstGeom>
            <a:solidFill>
              <a:srgbClr val="006600">
                <a:alpha val="4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6134404" y="6586466"/>
              <a:ext cx="216024" cy="72008"/>
            </a:xfrm>
            <a:prstGeom prst="rect">
              <a:avLst/>
            </a:prstGeom>
            <a:solidFill>
              <a:srgbClr val="0070C0">
                <a:alpha val="7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7707694" y="6071524"/>
              <a:ext cx="216024" cy="72008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7707694" y="6348670"/>
              <a:ext cx="216024" cy="72008"/>
            </a:xfrm>
            <a:prstGeom prst="rect">
              <a:avLst/>
            </a:prstGeom>
            <a:solidFill>
              <a:schemeClr val="tx1">
                <a:alpha val="4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04" name="Прямая соединительная линия 103"/>
            <p:cNvCxnSpPr/>
            <p:nvPr/>
          </p:nvCxnSpPr>
          <p:spPr>
            <a:xfrm>
              <a:off x="7707694" y="6647588"/>
              <a:ext cx="216024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Овал 80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2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C:\Documents and Settings\medeubaeva_d\Рабочий стол\2000px-Kazakhstan_(orthographic_projection).svg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Texturizer/>
                    </a14:imgEffect>
                  </a14:imgLayer>
                </a14:imgProps>
              </a:ext>
            </a:extLst>
          </a:blip>
          <a:srcRect l="27369" t="33639" r="26171" b="33115"/>
          <a:stretch>
            <a:fillRect/>
          </a:stretch>
        </p:blipFill>
        <p:spPr bwMode="auto">
          <a:xfrm>
            <a:off x="-3855" y="-1"/>
            <a:ext cx="9156815" cy="6858001"/>
          </a:xfrm>
          <a:prstGeom prst="rect">
            <a:avLst/>
          </a:prstGeom>
          <a:noFill/>
        </p:spPr>
      </p:pic>
      <p:sp>
        <p:nvSpPr>
          <p:cNvPr id="3" name="Пятиугольник 2"/>
          <p:cNvSpPr/>
          <p:nvPr/>
        </p:nvSpPr>
        <p:spPr>
          <a:xfrm>
            <a:off x="0" y="93610"/>
            <a:ext cx="7380312" cy="432048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latin typeface="Impact" pitchFamily="34" charset="0"/>
              </a:rPr>
              <a:t>Development of transport and communication complex for the last 5 years</a:t>
            </a:r>
          </a:p>
        </p:txBody>
      </p:sp>
      <p:sp>
        <p:nvSpPr>
          <p:cNvPr id="4" name="AutoShape 8" descr="http://upload.wikimedia.org/wikipedia/commons/c/c7/Accept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10" descr="http://upload.wikimedia.org/wikipedia/commons/c/c7/Accept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12" descr="http://upload.wikimedia.org/wikipedia/commons/c/c7/Accept.sv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15" descr="http://traditio-ru.org/images/8/8b/Green_Arrow_Up_Darker.sv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Стрелка углом вверх 7"/>
          <p:cNvSpPr/>
          <p:nvPr/>
        </p:nvSpPr>
        <p:spPr>
          <a:xfrm>
            <a:off x="95164" y="160338"/>
            <a:ext cx="9050926" cy="6522670"/>
          </a:xfrm>
          <a:prstGeom prst="bentUpArrow">
            <a:avLst>
              <a:gd name="adj1" fmla="val 19375"/>
              <a:gd name="adj2" fmla="val 14636"/>
              <a:gd name="adj3" fmla="val 14526"/>
            </a:avLst>
          </a:prstGeom>
          <a:solidFill>
            <a:srgbClr val="C0000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2" descr="C:\Documents and Settings\kemengerov_m\Рабочий стол\Презентации\картинки\Дорогои\curved-road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1609" t="12547" r="-2763" b="62495"/>
          <a:stretch>
            <a:fillRect/>
          </a:stretch>
        </p:blipFill>
        <p:spPr bwMode="auto">
          <a:xfrm>
            <a:off x="1247292" y="5732213"/>
            <a:ext cx="2100572" cy="721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3" descr="E:\! WORK\For prezentations\transport\containership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1021499" flipH="1">
            <a:off x="7169563" y="5631848"/>
            <a:ext cx="1153410" cy="1020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" descr="C:\Documents and Settings\kemengerov_m\Рабочий стол\Презентации\картинки\Поезда\images-2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08859" y="5535013"/>
            <a:ext cx="1143261" cy="918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" descr="E:\! WORK\For prezentations\transport\plane_ac_256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 flipH="1">
            <a:off x="5724128" y="5176821"/>
            <a:ext cx="1387162" cy="1852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6" descr="E:\! WORK\For prezentations\transport\w256h2561337871377bus256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142025" y="5429145"/>
            <a:ext cx="1285959" cy="1284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640212"/>
              </p:ext>
            </p:extLst>
          </p:nvPr>
        </p:nvGraphicFramePr>
        <p:xfrm>
          <a:off x="107504" y="1091664"/>
          <a:ext cx="8856984" cy="432816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446570"/>
                <a:gridCol w="7019648"/>
                <a:gridCol w="1390766"/>
              </a:tblGrid>
              <a:tr h="248366"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1</a:t>
                      </a:r>
                      <a:endParaRPr lang="ru-RU" sz="1600" b="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The share of transport branch in GDP of the country </a:t>
                      </a:r>
                      <a:r>
                        <a:rPr lang="en-US" sz="16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-----------------</a:t>
                      </a:r>
                      <a:endParaRPr lang="ru-RU" sz="16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7,5 %</a:t>
                      </a:r>
                      <a:endParaRPr lang="ru-RU" sz="1800" b="0" kern="1200" dirty="0">
                        <a:solidFill>
                          <a:srgbClr val="006600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248366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2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In </a:t>
                      </a:r>
                      <a:r>
                        <a:rPr lang="ru-RU" sz="1600" kern="1200" dirty="0" smtClean="0">
                          <a:solidFill>
                            <a:srgbClr val="0070C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5  </a:t>
                      </a:r>
                      <a:r>
                        <a:rPr lang="en-US" sz="1600" kern="1200" dirty="0" smtClean="0">
                          <a:solidFill>
                            <a:srgbClr val="0070C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years 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in the development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 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of TCC</a:t>
                      </a:r>
                      <a:r>
                        <a:rPr lang="en-US" sz="16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was invested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------------------</a:t>
                      </a:r>
                      <a:endParaRPr lang="ru-RU" sz="160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  <a:p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(</a:t>
                      </a:r>
                      <a:r>
                        <a:rPr lang="en-US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motor roads 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 10,2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lang="en-US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US dollars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, </a:t>
                      </a:r>
                      <a:r>
                        <a:rPr lang="en-US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railway transport - 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9,3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lang="en-US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US dollars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)</a:t>
                      </a:r>
                      <a:endParaRPr lang="ru-RU" sz="1600" i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20,3</a:t>
                      </a:r>
                      <a:r>
                        <a:rPr lang="ru-RU" sz="16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. 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$</a:t>
                      </a:r>
                      <a:endParaRPr lang="ru-RU" sz="1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248366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3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Attracted</a:t>
                      </a:r>
                      <a:r>
                        <a:rPr lang="en-US" sz="16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loans of the international financial institutions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</a:t>
                      </a:r>
                      <a:endParaRPr lang="ru-RU" sz="16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5,4 </a:t>
                      </a:r>
                      <a:r>
                        <a:rPr lang="en-US" sz="1600" kern="120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. 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$</a:t>
                      </a:r>
                      <a:endParaRPr lang="ru-RU" sz="16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428687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4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Transportation of goods for </a:t>
                      </a:r>
                      <a:r>
                        <a:rPr lang="ru-RU" sz="1600" kern="1200" dirty="0" smtClean="0">
                          <a:solidFill>
                            <a:srgbClr val="0070C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2013 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has increased up to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---------------</a:t>
                      </a:r>
                      <a:endParaRPr lang="ru-RU" sz="160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(2013 – 3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 280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mln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lang="en-US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tons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, 2009</a:t>
                      </a:r>
                      <a:r>
                        <a:rPr lang="ru-RU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– 1 </a:t>
                      </a:r>
                      <a:r>
                        <a:rPr lang="en-US" sz="1600" i="1" kern="12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 940 </a:t>
                      </a:r>
                      <a:r>
                        <a:rPr lang="en-US" sz="1600" i="1" kern="120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mln</a:t>
                      </a:r>
                      <a:r>
                        <a:rPr lang="ru-RU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lang="en-US" sz="1600" i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tons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)</a:t>
                      </a:r>
                      <a:endParaRPr lang="en-US" sz="1600" i="1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70 %</a:t>
                      </a:r>
                      <a:endParaRPr lang="ru-RU" sz="1800" kern="1200" dirty="0">
                        <a:solidFill>
                          <a:srgbClr val="006600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309665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5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Goods turnover by all means of transport has increased up to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(2013 – 377,1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en-US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km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, 2009 – 265,3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bln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.</a:t>
                      </a:r>
                      <a:r>
                        <a:rPr lang="en-US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en-US" sz="1600" i="1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km</a:t>
                      </a:r>
                      <a:r>
                        <a:rPr lang="ru-RU" sz="1600" i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70%</a:t>
                      </a:r>
                      <a:endParaRPr lang="ru-RU" sz="1800" kern="1200" dirty="0">
                        <a:solidFill>
                          <a:srgbClr val="006600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450625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6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Stable growth of a passenger traffic on the air transport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</a:t>
                      </a:r>
                      <a:endParaRPr lang="en-US" sz="160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ea typeface="MS PGothic" pitchFamily="34" charset="-128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(growth by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 </a:t>
                      </a:r>
                      <a:r>
                        <a:rPr lang="ru-RU" sz="16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</a:rPr>
                        <a:t>1,5 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times)</a:t>
                      </a:r>
                      <a:endParaRPr lang="ru-RU" sz="16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Impact" pitchFamily="34" charset="0"/>
                        <a:ea typeface="MS PGothic" pitchFamily="34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11  %</a:t>
                      </a:r>
                      <a:r>
                        <a:rPr lang="en-US" sz="1600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e</a:t>
                      </a:r>
                      <a:r>
                        <a:rPr lang="en-US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very</a:t>
                      </a:r>
                      <a:r>
                        <a:rPr lang="en-US" sz="1600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year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428687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7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Kilometers of roads provided to a good and satisfactory condition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</a:rPr>
                        <a:t>19 </a:t>
                      </a:r>
                      <a:r>
                        <a:rPr lang="en-US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thousand</a:t>
                      </a:r>
                      <a:r>
                        <a:rPr lang="en-US" sz="16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 km</a:t>
                      </a:r>
                      <a:r>
                        <a:rPr lang="ru-RU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of roads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265377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8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Constructed railways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---------------------------------------------------------</a:t>
                      </a:r>
                      <a:endParaRPr lang="ru-RU" sz="160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1700 </a:t>
                      </a:r>
                      <a:r>
                        <a:rPr lang="en-US" sz="16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km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  <a:tr h="265377"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chemeClr val="bg1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8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solidFill>
                      <a:srgbClr val="0066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Impact" pitchFamily="34" charset="0"/>
                          <a:ea typeface="MS PGothic" pitchFamily="34" charset="-128"/>
                        </a:rPr>
                        <a:t>Reconstructed airports</a:t>
                      </a:r>
                      <a:r>
                        <a:rPr lang="ru-RU" sz="16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------------------------------------------------------------------------------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kern="1200" dirty="0" smtClean="0">
                          <a:solidFill>
                            <a:srgbClr val="006600"/>
                          </a:solidFill>
                          <a:latin typeface="Impact" pitchFamily="34" charset="0"/>
                          <a:ea typeface="MS PGothic" pitchFamily="34" charset="-128"/>
                          <a:cs typeface="+mn-cs"/>
                        </a:rPr>
                        <a:t>9</a:t>
                      </a:r>
                      <a:endParaRPr lang="ru-RU" sz="1600" kern="1200" dirty="0">
                        <a:solidFill>
                          <a:schemeClr val="bg1"/>
                        </a:solidFill>
                        <a:latin typeface="Impact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251520" y="5733256"/>
            <a:ext cx="115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solidFill>
                  <a:srgbClr val="C00000"/>
                </a:solidFill>
                <a:latin typeface="Impact" pitchFamily="34" charset="0"/>
              </a:rPr>
              <a:t>2009</a:t>
            </a:r>
            <a:endParaRPr lang="ru-RU" sz="3200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84886" y="493361"/>
            <a:ext cx="11521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solidFill>
                  <a:srgbClr val="C00000"/>
                </a:solidFill>
                <a:latin typeface="Impact" pitchFamily="34" charset="0"/>
              </a:rPr>
              <a:t>2013</a:t>
            </a:r>
            <a:endParaRPr lang="ru-RU" sz="3200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3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Двойная стрелка влево/вправо 9"/>
          <p:cNvSpPr/>
          <p:nvPr/>
        </p:nvSpPr>
        <p:spPr>
          <a:xfrm rot="5400000">
            <a:off x="4276552" y="4391191"/>
            <a:ext cx="2078204" cy="432048"/>
          </a:xfrm>
          <a:prstGeom prst="leftRight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25" descr="C:\Documents and Settings\Admin\Рабочий стол\GISGPSMAP Icons\PNG\256x256\NeedleLeftYellow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3592" y="714468"/>
            <a:ext cx="444500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5" name="Прямоугольник 40"/>
          <p:cNvSpPr>
            <a:spLocks noChangeArrowheads="1"/>
          </p:cNvSpPr>
          <p:nvPr/>
        </p:nvSpPr>
        <p:spPr bwMode="auto">
          <a:xfrm>
            <a:off x="121152" y="1876476"/>
            <a:ext cx="8932796" cy="369332"/>
          </a:xfrm>
          <a:prstGeom prst="rect">
            <a:avLst/>
          </a:prstGeom>
          <a:solidFill>
            <a:srgbClr val="FFFFFF"/>
          </a:solidFill>
          <a:ln w="31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 algn="ctr"/>
            <a:r>
              <a:rPr lang="en-US" altLang="ru-RU" sz="1800" b="0" dirty="0" smtClean="0">
                <a:solidFill>
                  <a:srgbClr val="C00000"/>
                </a:solidFill>
                <a:latin typeface="Impact" pitchFamily="34" charset="0"/>
              </a:rPr>
              <a:t>Main directions</a:t>
            </a:r>
            <a:endParaRPr lang="ru-RU" altLang="ru-RU" sz="1800" b="0" dirty="0">
              <a:solidFill>
                <a:srgbClr val="C00000"/>
              </a:solidFill>
              <a:latin typeface="Impact" pitchFamily="34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539552" y="831339"/>
            <a:ext cx="835292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sz="1400" i="1" dirty="0" smtClean="0">
                <a:cs typeface="Arial" pitchFamily="34" charset="0"/>
              </a:rPr>
              <a:t>Address by the President of Kazakhstan "Strategy "Kazakhstan 2050":  New political course of the established state: </a:t>
            </a:r>
          </a:p>
          <a:p>
            <a:pPr algn="just">
              <a:defRPr/>
            </a:pPr>
            <a:r>
              <a:rPr lang="en-US" sz="1400" i="1" dirty="0" smtClean="0">
                <a:cs typeface="Arial" pitchFamily="34" charset="0"/>
              </a:rPr>
              <a:t>1) "… transit transportations through Kazakhstan by 2020 have to increase twice. By 2050 this figure has to increase by 10 times …";</a:t>
            </a:r>
          </a:p>
        </p:txBody>
      </p:sp>
      <p:sp>
        <p:nvSpPr>
          <p:cNvPr id="197" name="Пятиугольник 196"/>
          <p:cNvSpPr/>
          <p:nvPr/>
        </p:nvSpPr>
        <p:spPr>
          <a:xfrm>
            <a:off x="-32658" y="116632"/>
            <a:ext cx="8748464" cy="432048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700" dirty="0" smtClean="0">
                <a:latin typeface="Impact" pitchFamily="34" charset="0"/>
              </a:rPr>
              <a:t>State program of development and integration of infrastructure of transport system till 2020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1152" y="2253601"/>
            <a:ext cx="4374444" cy="584775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lvl="0"/>
            <a:r>
              <a:rPr lang="en-US" sz="1600" dirty="0" smtClean="0">
                <a:solidFill>
                  <a:schemeClr val="bg1"/>
                </a:solidFill>
                <a:latin typeface="Impact" pitchFamily="34" charset="0"/>
                <a:cs typeface="Arial" charset="0"/>
              </a:rPr>
              <a:t>Development of transport infrastructure of the Republic of Kazakhstan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495596" y="2254647"/>
            <a:ext cx="4572000" cy="584775"/>
          </a:xfrm>
          <a:prstGeom prst="rect">
            <a:avLst/>
          </a:prstGeom>
          <a:solidFill>
            <a:srgbClr val="003399"/>
          </a:solidFill>
        </p:spPr>
        <p:txBody>
          <a:bodyPr wrap="square">
            <a:spAutoFit/>
          </a:bodyPr>
          <a:lstStyle/>
          <a:p>
            <a:pPr lvl="0"/>
            <a:r>
              <a:rPr lang="en-US" sz="1600" dirty="0" smtClean="0">
                <a:solidFill>
                  <a:schemeClr val="bg1"/>
                </a:solidFill>
                <a:latin typeface="Impact" pitchFamily="34" charset="0"/>
                <a:cs typeface="Arial" charset="0"/>
              </a:rPr>
              <a:t>Integration of transport infrastructure of Kazakhstan into the world transport system</a:t>
            </a:r>
          </a:p>
        </p:txBody>
      </p:sp>
      <p:sp>
        <p:nvSpPr>
          <p:cNvPr id="21" name="Прямоугольник 43"/>
          <p:cNvSpPr>
            <a:spLocks noChangeArrowheads="1"/>
          </p:cNvSpPr>
          <p:nvPr/>
        </p:nvSpPr>
        <p:spPr bwMode="auto">
          <a:xfrm>
            <a:off x="129776" y="2835520"/>
            <a:ext cx="8924172" cy="369332"/>
          </a:xfrm>
          <a:prstGeom prst="rect">
            <a:avLst/>
          </a:prstGeom>
          <a:solidFill>
            <a:srgbClr val="FFFFFF"/>
          </a:solidFill>
          <a:ln w="31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altLang="ru-RU" b="0" dirty="0" smtClean="0">
                <a:solidFill>
                  <a:srgbClr val="008000"/>
                </a:solidFill>
                <a:latin typeface="Impact" pitchFamily="34" charset="0"/>
              </a:rPr>
              <a:t>Tasks</a:t>
            </a:r>
            <a:endParaRPr lang="ru-RU" altLang="ru-RU" b="0" dirty="0">
              <a:solidFill>
                <a:srgbClr val="008000"/>
              </a:solidFill>
              <a:latin typeface="Impact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55236" y="3501008"/>
            <a:ext cx="3240360" cy="523220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>
            <a:spAutoFit/>
          </a:bodyPr>
          <a:lstStyle/>
          <a:p>
            <a:pPr lvl="0"/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Large-scale modernization of transport infrastructure;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55236" y="4413740"/>
            <a:ext cx="3240360" cy="307777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>
            <a:spAutoFit/>
          </a:bodyPr>
          <a:lstStyle/>
          <a:p>
            <a:pPr lvl="0"/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Integration of all means of transport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255236" y="5089613"/>
            <a:ext cx="3240360" cy="523220"/>
          </a:xfrm>
          <a:prstGeom prst="rect">
            <a:avLst/>
          </a:prstGeom>
          <a:solidFill>
            <a:srgbClr val="FFFFFF">
              <a:alpha val="70000"/>
            </a:srgbClr>
          </a:solidFill>
        </p:spPr>
        <p:txBody>
          <a:bodyPr wrap="square">
            <a:spAutoFit/>
          </a:bodyPr>
          <a:lstStyle/>
          <a:p>
            <a:pPr lvl="0"/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Creation of the multimodal logistic company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96137" y="5123097"/>
            <a:ext cx="32578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Launch of container block trains </a:t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</a:b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in China – Europe – China direction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96136" y="3501008"/>
            <a:ext cx="32578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Construction of own terminals;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796137" y="4284225"/>
            <a:ext cx="32578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rPr>
              <a:t>Diversification of transit corridors;</a:t>
            </a:r>
          </a:p>
        </p:txBody>
      </p:sp>
      <p:pic>
        <p:nvPicPr>
          <p:cNvPr id="33" name="Picture 14" descr="http://surr.globalist.org.ua/wp-content/uploads/eu-bann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263" y="3954747"/>
            <a:ext cx="551849" cy="3752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4" name="Picture 10" descr="http://tour-click.ru/images/s_Republic_of_China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941168"/>
            <a:ext cx="610524" cy="39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wallspaper.ru/uploads/gallery/main/25/1268382315_kazakhstanf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12" y="4413740"/>
            <a:ext cx="604916" cy="40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трелка вниз 10"/>
          <p:cNvSpPr/>
          <p:nvPr/>
        </p:nvSpPr>
        <p:spPr>
          <a:xfrm>
            <a:off x="448446" y="3568113"/>
            <a:ext cx="432048" cy="574263"/>
          </a:xfrm>
          <a:prstGeom prst="down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низ 38"/>
          <p:cNvSpPr/>
          <p:nvPr/>
        </p:nvSpPr>
        <p:spPr>
          <a:xfrm rot="10800000">
            <a:off x="435852" y="5072054"/>
            <a:ext cx="432048" cy="574263"/>
          </a:xfrm>
          <a:prstGeom prst="downArrow">
            <a:avLst/>
          </a:prstGeom>
          <a:solidFill>
            <a:srgbClr val="C0000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" name="Picture 2" descr="C:\Documents and Settings\medeubaeva_d\Рабочий стол\Слайды\Логистика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01911" y="5608707"/>
            <a:ext cx="1529735" cy="12747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Овал 23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4</a:t>
            </a:r>
            <a:endParaRPr lang="ru-RU" sz="1400" dirty="0"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215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Полилиния 300"/>
          <p:cNvSpPr/>
          <p:nvPr/>
        </p:nvSpPr>
        <p:spPr bwMode="auto">
          <a:xfrm>
            <a:off x="-3427684" y="3960763"/>
            <a:ext cx="93662" cy="60325"/>
          </a:xfrm>
          <a:custGeom>
            <a:avLst/>
            <a:gdLst>
              <a:gd name="connsiteX0" fmla="*/ 0 w 94520"/>
              <a:gd name="connsiteY0" fmla="*/ 59594 h 59594"/>
              <a:gd name="connsiteX1" fmla="*/ 90153 w 94520"/>
              <a:gd name="connsiteY1" fmla="*/ 2927 h 59594"/>
              <a:gd name="connsiteX2" fmla="*/ 72122 w 94520"/>
              <a:gd name="connsiteY2" fmla="*/ 13230 h 59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4520" h="59594">
                <a:moveTo>
                  <a:pt x="0" y="59594"/>
                </a:moveTo>
                <a:lnTo>
                  <a:pt x="90153" y="2927"/>
                </a:lnTo>
                <a:cubicBezTo>
                  <a:pt x="102173" y="-4800"/>
                  <a:pt x="87147" y="4215"/>
                  <a:pt x="72122" y="13230"/>
                </a:cubicBezTo>
              </a:path>
            </a:pathLst>
          </a:custGeom>
          <a:noFill/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83" name="Picture 2" descr="Y:\Основа.jpg"/>
          <p:cNvPicPr>
            <a:picLocks noChangeArrowheads="1"/>
          </p:cNvPicPr>
          <p:nvPr/>
        </p:nvPicPr>
        <p:blipFill>
          <a:blip r:embed="rId2" cstate="print">
            <a:lum bright="-10000" contrast="1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1470" y="214290"/>
            <a:ext cx="9072562" cy="62865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" name="Группа 278"/>
          <p:cNvGrpSpPr/>
          <p:nvPr/>
        </p:nvGrpSpPr>
        <p:grpSpPr>
          <a:xfrm>
            <a:off x="1892493" y="1800590"/>
            <a:ext cx="6338925" cy="3034262"/>
            <a:chOff x="2136570" y="1999890"/>
            <a:chExt cx="6084404" cy="3503764"/>
          </a:xfrm>
        </p:grpSpPr>
        <p:sp>
          <p:nvSpPr>
            <p:cNvPr id="299" name="Полилиния 298"/>
            <p:cNvSpPr/>
            <p:nvPr/>
          </p:nvSpPr>
          <p:spPr>
            <a:xfrm>
              <a:off x="5771957" y="3010620"/>
              <a:ext cx="914400" cy="2493034"/>
            </a:xfrm>
            <a:custGeom>
              <a:avLst/>
              <a:gdLst>
                <a:gd name="connsiteX0" fmla="*/ 0 w 1233577"/>
                <a:gd name="connsiteY0" fmla="*/ 0 h 3079630"/>
                <a:gd name="connsiteX1" fmla="*/ 77637 w 1233577"/>
                <a:gd name="connsiteY1" fmla="*/ 94891 h 3079630"/>
                <a:gd name="connsiteX2" fmla="*/ 120769 w 1233577"/>
                <a:gd name="connsiteY2" fmla="*/ 181155 h 3079630"/>
                <a:gd name="connsiteX3" fmla="*/ 207034 w 1233577"/>
                <a:gd name="connsiteY3" fmla="*/ 293298 h 3079630"/>
                <a:gd name="connsiteX4" fmla="*/ 301924 w 1233577"/>
                <a:gd name="connsiteY4" fmla="*/ 345057 h 3079630"/>
                <a:gd name="connsiteX5" fmla="*/ 362309 w 1233577"/>
                <a:gd name="connsiteY5" fmla="*/ 439947 h 3079630"/>
                <a:gd name="connsiteX6" fmla="*/ 379562 w 1233577"/>
                <a:gd name="connsiteY6" fmla="*/ 552091 h 3079630"/>
                <a:gd name="connsiteX7" fmla="*/ 457200 w 1233577"/>
                <a:gd name="connsiteY7" fmla="*/ 707366 h 3079630"/>
                <a:gd name="connsiteX8" fmla="*/ 534837 w 1233577"/>
                <a:gd name="connsiteY8" fmla="*/ 776378 h 3079630"/>
                <a:gd name="connsiteX9" fmla="*/ 552090 w 1233577"/>
                <a:gd name="connsiteY9" fmla="*/ 966159 h 3079630"/>
                <a:gd name="connsiteX10" fmla="*/ 629728 w 1233577"/>
                <a:gd name="connsiteY10" fmla="*/ 1138687 h 3079630"/>
                <a:gd name="connsiteX11" fmla="*/ 681486 w 1233577"/>
                <a:gd name="connsiteY11" fmla="*/ 1199072 h 3079630"/>
                <a:gd name="connsiteX12" fmla="*/ 715992 w 1233577"/>
                <a:gd name="connsiteY12" fmla="*/ 1319842 h 3079630"/>
                <a:gd name="connsiteX13" fmla="*/ 767751 w 1233577"/>
                <a:gd name="connsiteY13" fmla="*/ 1380227 h 3079630"/>
                <a:gd name="connsiteX14" fmla="*/ 785003 w 1233577"/>
                <a:gd name="connsiteY14" fmla="*/ 1509623 h 3079630"/>
                <a:gd name="connsiteX15" fmla="*/ 905773 w 1233577"/>
                <a:gd name="connsiteY15" fmla="*/ 1570008 h 3079630"/>
                <a:gd name="connsiteX16" fmla="*/ 1078301 w 1233577"/>
                <a:gd name="connsiteY16" fmla="*/ 1716657 h 3079630"/>
                <a:gd name="connsiteX17" fmla="*/ 1121434 w 1233577"/>
                <a:gd name="connsiteY17" fmla="*/ 1906438 h 3079630"/>
                <a:gd name="connsiteX18" fmla="*/ 1000664 w 1233577"/>
                <a:gd name="connsiteY18" fmla="*/ 1984076 h 3079630"/>
                <a:gd name="connsiteX19" fmla="*/ 940279 w 1233577"/>
                <a:gd name="connsiteY19" fmla="*/ 2061713 h 3079630"/>
                <a:gd name="connsiteX20" fmla="*/ 819509 w 1233577"/>
                <a:gd name="connsiteY20" fmla="*/ 2130725 h 3079630"/>
                <a:gd name="connsiteX21" fmla="*/ 655607 w 1233577"/>
                <a:gd name="connsiteY21" fmla="*/ 2199736 h 3079630"/>
                <a:gd name="connsiteX22" fmla="*/ 655607 w 1233577"/>
                <a:gd name="connsiteY22" fmla="*/ 2286000 h 3079630"/>
                <a:gd name="connsiteX23" fmla="*/ 621101 w 1233577"/>
                <a:gd name="connsiteY23" fmla="*/ 2372264 h 3079630"/>
                <a:gd name="connsiteX24" fmla="*/ 733245 w 1233577"/>
                <a:gd name="connsiteY24" fmla="*/ 2536166 h 3079630"/>
                <a:gd name="connsiteX25" fmla="*/ 845388 w 1233577"/>
                <a:gd name="connsiteY25" fmla="*/ 2605178 h 3079630"/>
                <a:gd name="connsiteX26" fmla="*/ 914400 w 1233577"/>
                <a:gd name="connsiteY26" fmla="*/ 2700068 h 3079630"/>
                <a:gd name="connsiteX27" fmla="*/ 1061049 w 1233577"/>
                <a:gd name="connsiteY27" fmla="*/ 2769080 h 3079630"/>
                <a:gd name="connsiteX28" fmla="*/ 1121434 w 1233577"/>
                <a:gd name="connsiteY28" fmla="*/ 2769080 h 3079630"/>
                <a:gd name="connsiteX29" fmla="*/ 1216324 w 1233577"/>
                <a:gd name="connsiteY29" fmla="*/ 2838091 h 3079630"/>
                <a:gd name="connsiteX30" fmla="*/ 1224951 w 1233577"/>
                <a:gd name="connsiteY30" fmla="*/ 3079630 h 3079630"/>
                <a:gd name="connsiteX0" fmla="*/ 0 w 1155940"/>
                <a:gd name="connsiteY0" fmla="*/ 0 h 2984739"/>
                <a:gd name="connsiteX1" fmla="*/ 43132 w 1155940"/>
                <a:gd name="connsiteY1" fmla="*/ 86264 h 2984739"/>
                <a:gd name="connsiteX2" fmla="*/ 129397 w 1155940"/>
                <a:gd name="connsiteY2" fmla="*/ 198407 h 2984739"/>
                <a:gd name="connsiteX3" fmla="*/ 224287 w 1155940"/>
                <a:gd name="connsiteY3" fmla="*/ 250166 h 2984739"/>
                <a:gd name="connsiteX4" fmla="*/ 284672 w 1155940"/>
                <a:gd name="connsiteY4" fmla="*/ 345056 h 2984739"/>
                <a:gd name="connsiteX5" fmla="*/ 301925 w 1155940"/>
                <a:gd name="connsiteY5" fmla="*/ 457200 h 2984739"/>
                <a:gd name="connsiteX6" fmla="*/ 379563 w 1155940"/>
                <a:gd name="connsiteY6" fmla="*/ 612475 h 2984739"/>
                <a:gd name="connsiteX7" fmla="*/ 457200 w 1155940"/>
                <a:gd name="connsiteY7" fmla="*/ 681487 h 2984739"/>
                <a:gd name="connsiteX8" fmla="*/ 474453 w 1155940"/>
                <a:gd name="connsiteY8" fmla="*/ 871268 h 2984739"/>
                <a:gd name="connsiteX9" fmla="*/ 552091 w 1155940"/>
                <a:gd name="connsiteY9" fmla="*/ 1043796 h 2984739"/>
                <a:gd name="connsiteX10" fmla="*/ 603849 w 1155940"/>
                <a:gd name="connsiteY10" fmla="*/ 1104181 h 2984739"/>
                <a:gd name="connsiteX11" fmla="*/ 638355 w 1155940"/>
                <a:gd name="connsiteY11" fmla="*/ 1224951 h 2984739"/>
                <a:gd name="connsiteX12" fmla="*/ 690114 w 1155940"/>
                <a:gd name="connsiteY12" fmla="*/ 1285336 h 2984739"/>
                <a:gd name="connsiteX13" fmla="*/ 707366 w 1155940"/>
                <a:gd name="connsiteY13" fmla="*/ 1414732 h 2984739"/>
                <a:gd name="connsiteX14" fmla="*/ 828136 w 1155940"/>
                <a:gd name="connsiteY14" fmla="*/ 1475117 h 2984739"/>
                <a:gd name="connsiteX15" fmla="*/ 1000664 w 1155940"/>
                <a:gd name="connsiteY15" fmla="*/ 1621766 h 2984739"/>
                <a:gd name="connsiteX16" fmla="*/ 1043797 w 1155940"/>
                <a:gd name="connsiteY16" fmla="*/ 1811547 h 2984739"/>
                <a:gd name="connsiteX17" fmla="*/ 923027 w 1155940"/>
                <a:gd name="connsiteY17" fmla="*/ 1889185 h 2984739"/>
                <a:gd name="connsiteX18" fmla="*/ 862642 w 1155940"/>
                <a:gd name="connsiteY18" fmla="*/ 1966822 h 2984739"/>
                <a:gd name="connsiteX19" fmla="*/ 741872 w 1155940"/>
                <a:gd name="connsiteY19" fmla="*/ 2035834 h 2984739"/>
                <a:gd name="connsiteX20" fmla="*/ 577970 w 1155940"/>
                <a:gd name="connsiteY20" fmla="*/ 2104845 h 2984739"/>
                <a:gd name="connsiteX21" fmla="*/ 577970 w 1155940"/>
                <a:gd name="connsiteY21" fmla="*/ 2191109 h 2984739"/>
                <a:gd name="connsiteX22" fmla="*/ 543464 w 1155940"/>
                <a:gd name="connsiteY22" fmla="*/ 2277373 h 2984739"/>
                <a:gd name="connsiteX23" fmla="*/ 655608 w 1155940"/>
                <a:gd name="connsiteY23" fmla="*/ 2441275 h 2984739"/>
                <a:gd name="connsiteX24" fmla="*/ 767751 w 1155940"/>
                <a:gd name="connsiteY24" fmla="*/ 2510287 h 2984739"/>
                <a:gd name="connsiteX25" fmla="*/ 836763 w 1155940"/>
                <a:gd name="connsiteY25" fmla="*/ 2605177 h 2984739"/>
                <a:gd name="connsiteX26" fmla="*/ 983412 w 1155940"/>
                <a:gd name="connsiteY26" fmla="*/ 2674189 h 2984739"/>
                <a:gd name="connsiteX27" fmla="*/ 1043797 w 1155940"/>
                <a:gd name="connsiteY27" fmla="*/ 2674189 h 2984739"/>
                <a:gd name="connsiteX28" fmla="*/ 1138687 w 1155940"/>
                <a:gd name="connsiteY28" fmla="*/ 2743200 h 2984739"/>
                <a:gd name="connsiteX29" fmla="*/ 1147314 w 1155940"/>
                <a:gd name="connsiteY29" fmla="*/ 2984739 h 2984739"/>
                <a:gd name="connsiteX0" fmla="*/ 0 w 1112808"/>
                <a:gd name="connsiteY0" fmla="*/ 0 h 2898475"/>
                <a:gd name="connsiteX1" fmla="*/ 86265 w 1112808"/>
                <a:gd name="connsiteY1" fmla="*/ 112143 h 2898475"/>
                <a:gd name="connsiteX2" fmla="*/ 181155 w 1112808"/>
                <a:gd name="connsiteY2" fmla="*/ 163902 h 2898475"/>
                <a:gd name="connsiteX3" fmla="*/ 241540 w 1112808"/>
                <a:gd name="connsiteY3" fmla="*/ 258792 h 2898475"/>
                <a:gd name="connsiteX4" fmla="*/ 258793 w 1112808"/>
                <a:gd name="connsiteY4" fmla="*/ 370936 h 2898475"/>
                <a:gd name="connsiteX5" fmla="*/ 336431 w 1112808"/>
                <a:gd name="connsiteY5" fmla="*/ 526211 h 2898475"/>
                <a:gd name="connsiteX6" fmla="*/ 414068 w 1112808"/>
                <a:gd name="connsiteY6" fmla="*/ 595223 h 2898475"/>
                <a:gd name="connsiteX7" fmla="*/ 431321 w 1112808"/>
                <a:gd name="connsiteY7" fmla="*/ 785004 h 2898475"/>
                <a:gd name="connsiteX8" fmla="*/ 508959 w 1112808"/>
                <a:gd name="connsiteY8" fmla="*/ 957532 h 2898475"/>
                <a:gd name="connsiteX9" fmla="*/ 560717 w 1112808"/>
                <a:gd name="connsiteY9" fmla="*/ 1017917 h 2898475"/>
                <a:gd name="connsiteX10" fmla="*/ 595223 w 1112808"/>
                <a:gd name="connsiteY10" fmla="*/ 1138687 h 2898475"/>
                <a:gd name="connsiteX11" fmla="*/ 646982 w 1112808"/>
                <a:gd name="connsiteY11" fmla="*/ 1199072 h 2898475"/>
                <a:gd name="connsiteX12" fmla="*/ 664234 w 1112808"/>
                <a:gd name="connsiteY12" fmla="*/ 1328468 h 2898475"/>
                <a:gd name="connsiteX13" fmla="*/ 785004 w 1112808"/>
                <a:gd name="connsiteY13" fmla="*/ 1388853 h 2898475"/>
                <a:gd name="connsiteX14" fmla="*/ 957532 w 1112808"/>
                <a:gd name="connsiteY14" fmla="*/ 1535502 h 2898475"/>
                <a:gd name="connsiteX15" fmla="*/ 1000665 w 1112808"/>
                <a:gd name="connsiteY15" fmla="*/ 1725283 h 2898475"/>
                <a:gd name="connsiteX16" fmla="*/ 879895 w 1112808"/>
                <a:gd name="connsiteY16" fmla="*/ 1802921 h 2898475"/>
                <a:gd name="connsiteX17" fmla="*/ 819510 w 1112808"/>
                <a:gd name="connsiteY17" fmla="*/ 1880558 h 2898475"/>
                <a:gd name="connsiteX18" fmla="*/ 698740 w 1112808"/>
                <a:gd name="connsiteY18" fmla="*/ 1949570 h 2898475"/>
                <a:gd name="connsiteX19" fmla="*/ 534838 w 1112808"/>
                <a:gd name="connsiteY19" fmla="*/ 2018581 h 2898475"/>
                <a:gd name="connsiteX20" fmla="*/ 534838 w 1112808"/>
                <a:gd name="connsiteY20" fmla="*/ 2104845 h 2898475"/>
                <a:gd name="connsiteX21" fmla="*/ 500332 w 1112808"/>
                <a:gd name="connsiteY21" fmla="*/ 2191109 h 2898475"/>
                <a:gd name="connsiteX22" fmla="*/ 612476 w 1112808"/>
                <a:gd name="connsiteY22" fmla="*/ 2355011 h 2898475"/>
                <a:gd name="connsiteX23" fmla="*/ 724619 w 1112808"/>
                <a:gd name="connsiteY23" fmla="*/ 2424023 h 2898475"/>
                <a:gd name="connsiteX24" fmla="*/ 793631 w 1112808"/>
                <a:gd name="connsiteY24" fmla="*/ 2518913 h 2898475"/>
                <a:gd name="connsiteX25" fmla="*/ 940280 w 1112808"/>
                <a:gd name="connsiteY25" fmla="*/ 2587925 h 2898475"/>
                <a:gd name="connsiteX26" fmla="*/ 1000665 w 1112808"/>
                <a:gd name="connsiteY26" fmla="*/ 2587925 h 2898475"/>
                <a:gd name="connsiteX27" fmla="*/ 1095555 w 1112808"/>
                <a:gd name="connsiteY27" fmla="*/ 2656936 h 2898475"/>
                <a:gd name="connsiteX28" fmla="*/ 1104182 w 1112808"/>
                <a:gd name="connsiteY28" fmla="*/ 2898475 h 2898475"/>
                <a:gd name="connsiteX0" fmla="*/ 0 w 1026543"/>
                <a:gd name="connsiteY0" fmla="*/ 0 h 2786332"/>
                <a:gd name="connsiteX1" fmla="*/ 94890 w 1026543"/>
                <a:gd name="connsiteY1" fmla="*/ 51759 h 2786332"/>
                <a:gd name="connsiteX2" fmla="*/ 155275 w 1026543"/>
                <a:gd name="connsiteY2" fmla="*/ 146649 h 2786332"/>
                <a:gd name="connsiteX3" fmla="*/ 172528 w 1026543"/>
                <a:gd name="connsiteY3" fmla="*/ 258793 h 2786332"/>
                <a:gd name="connsiteX4" fmla="*/ 250166 w 1026543"/>
                <a:gd name="connsiteY4" fmla="*/ 414068 h 2786332"/>
                <a:gd name="connsiteX5" fmla="*/ 327803 w 1026543"/>
                <a:gd name="connsiteY5" fmla="*/ 483080 h 2786332"/>
                <a:gd name="connsiteX6" fmla="*/ 345056 w 1026543"/>
                <a:gd name="connsiteY6" fmla="*/ 672861 h 2786332"/>
                <a:gd name="connsiteX7" fmla="*/ 422694 w 1026543"/>
                <a:gd name="connsiteY7" fmla="*/ 845389 h 2786332"/>
                <a:gd name="connsiteX8" fmla="*/ 474452 w 1026543"/>
                <a:gd name="connsiteY8" fmla="*/ 905774 h 2786332"/>
                <a:gd name="connsiteX9" fmla="*/ 508958 w 1026543"/>
                <a:gd name="connsiteY9" fmla="*/ 1026544 h 2786332"/>
                <a:gd name="connsiteX10" fmla="*/ 560717 w 1026543"/>
                <a:gd name="connsiteY10" fmla="*/ 1086929 h 2786332"/>
                <a:gd name="connsiteX11" fmla="*/ 577969 w 1026543"/>
                <a:gd name="connsiteY11" fmla="*/ 1216325 h 2786332"/>
                <a:gd name="connsiteX12" fmla="*/ 698739 w 1026543"/>
                <a:gd name="connsiteY12" fmla="*/ 1276710 h 2786332"/>
                <a:gd name="connsiteX13" fmla="*/ 871267 w 1026543"/>
                <a:gd name="connsiteY13" fmla="*/ 1423359 h 2786332"/>
                <a:gd name="connsiteX14" fmla="*/ 914400 w 1026543"/>
                <a:gd name="connsiteY14" fmla="*/ 1613140 h 2786332"/>
                <a:gd name="connsiteX15" fmla="*/ 793630 w 1026543"/>
                <a:gd name="connsiteY15" fmla="*/ 1690778 h 2786332"/>
                <a:gd name="connsiteX16" fmla="*/ 733245 w 1026543"/>
                <a:gd name="connsiteY16" fmla="*/ 1768415 h 2786332"/>
                <a:gd name="connsiteX17" fmla="*/ 612475 w 1026543"/>
                <a:gd name="connsiteY17" fmla="*/ 1837427 h 2786332"/>
                <a:gd name="connsiteX18" fmla="*/ 448573 w 1026543"/>
                <a:gd name="connsiteY18" fmla="*/ 1906438 h 2786332"/>
                <a:gd name="connsiteX19" fmla="*/ 448573 w 1026543"/>
                <a:gd name="connsiteY19" fmla="*/ 1992702 h 2786332"/>
                <a:gd name="connsiteX20" fmla="*/ 414067 w 1026543"/>
                <a:gd name="connsiteY20" fmla="*/ 2078966 h 2786332"/>
                <a:gd name="connsiteX21" fmla="*/ 526211 w 1026543"/>
                <a:gd name="connsiteY21" fmla="*/ 2242868 h 2786332"/>
                <a:gd name="connsiteX22" fmla="*/ 638354 w 1026543"/>
                <a:gd name="connsiteY22" fmla="*/ 2311880 h 2786332"/>
                <a:gd name="connsiteX23" fmla="*/ 707366 w 1026543"/>
                <a:gd name="connsiteY23" fmla="*/ 2406770 h 2786332"/>
                <a:gd name="connsiteX24" fmla="*/ 854015 w 1026543"/>
                <a:gd name="connsiteY24" fmla="*/ 2475782 h 2786332"/>
                <a:gd name="connsiteX25" fmla="*/ 914400 w 1026543"/>
                <a:gd name="connsiteY25" fmla="*/ 2475782 h 2786332"/>
                <a:gd name="connsiteX26" fmla="*/ 1009290 w 1026543"/>
                <a:gd name="connsiteY26" fmla="*/ 2544793 h 2786332"/>
                <a:gd name="connsiteX27" fmla="*/ 1017917 w 1026543"/>
                <a:gd name="connsiteY27" fmla="*/ 2786332 h 2786332"/>
                <a:gd name="connsiteX0" fmla="*/ 0 w 931653"/>
                <a:gd name="connsiteY0" fmla="*/ 0 h 2734573"/>
                <a:gd name="connsiteX1" fmla="*/ 60385 w 931653"/>
                <a:gd name="connsiteY1" fmla="*/ 94890 h 2734573"/>
                <a:gd name="connsiteX2" fmla="*/ 77638 w 931653"/>
                <a:gd name="connsiteY2" fmla="*/ 207034 h 2734573"/>
                <a:gd name="connsiteX3" fmla="*/ 155276 w 931653"/>
                <a:gd name="connsiteY3" fmla="*/ 362309 h 2734573"/>
                <a:gd name="connsiteX4" fmla="*/ 232913 w 931653"/>
                <a:gd name="connsiteY4" fmla="*/ 431321 h 2734573"/>
                <a:gd name="connsiteX5" fmla="*/ 250166 w 931653"/>
                <a:gd name="connsiteY5" fmla="*/ 621102 h 2734573"/>
                <a:gd name="connsiteX6" fmla="*/ 327804 w 931653"/>
                <a:gd name="connsiteY6" fmla="*/ 793630 h 2734573"/>
                <a:gd name="connsiteX7" fmla="*/ 379562 w 931653"/>
                <a:gd name="connsiteY7" fmla="*/ 854015 h 2734573"/>
                <a:gd name="connsiteX8" fmla="*/ 414068 w 931653"/>
                <a:gd name="connsiteY8" fmla="*/ 974785 h 2734573"/>
                <a:gd name="connsiteX9" fmla="*/ 465827 w 931653"/>
                <a:gd name="connsiteY9" fmla="*/ 1035170 h 2734573"/>
                <a:gd name="connsiteX10" fmla="*/ 483079 w 931653"/>
                <a:gd name="connsiteY10" fmla="*/ 1164566 h 2734573"/>
                <a:gd name="connsiteX11" fmla="*/ 603849 w 931653"/>
                <a:gd name="connsiteY11" fmla="*/ 1224951 h 2734573"/>
                <a:gd name="connsiteX12" fmla="*/ 776377 w 931653"/>
                <a:gd name="connsiteY12" fmla="*/ 1371600 h 2734573"/>
                <a:gd name="connsiteX13" fmla="*/ 819510 w 931653"/>
                <a:gd name="connsiteY13" fmla="*/ 1561381 h 2734573"/>
                <a:gd name="connsiteX14" fmla="*/ 698740 w 931653"/>
                <a:gd name="connsiteY14" fmla="*/ 1639019 h 2734573"/>
                <a:gd name="connsiteX15" fmla="*/ 638355 w 931653"/>
                <a:gd name="connsiteY15" fmla="*/ 1716656 h 2734573"/>
                <a:gd name="connsiteX16" fmla="*/ 517585 w 931653"/>
                <a:gd name="connsiteY16" fmla="*/ 1785668 h 2734573"/>
                <a:gd name="connsiteX17" fmla="*/ 353683 w 931653"/>
                <a:gd name="connsiteY17" fmla="*/ 1854679 h 2734573"/>
                <a:gd name="connsiteX18" fmla="*/ 353683 w 931653"/>
                <a:gd name="connsiteY18" fmla="*/ 1940943 h 2734573"/>
                <a:gd name="connsiteX19" fmla="*/ 319177 w 931653"/>
                <a:gd name="connsiteY19" fmla="*/ 2027207 h 2734573"/>
                <a:gd name="connsiteX20" fmla="*/ 431321 w 931653"/>
                <a:gd name="connsiteY20" fmla="*/ 2191109 h 2734573"/>
                <a:gd name="connsiteX21" fmla="*/ 543464 w 931653"/>
                <a:gd name="connsiteY21" fmla="*/ 2260121 h 2734573"/>
                <a:gd name="connsiteX22" fmla="*/ 612476 w 931653"/>
                <a:gd name="connsiteY22" fmla="*/ 2355011 h 2734573"/>
                <a:gd name="connsiteX23" fmla="*/ 759125 w 931653"/>
                <a:gd name="connsiteY23" fmla="*/ 2424023 h 2734573"/>
                <a:gd name="connsiteX24" fmla="*/ 819510 w 931653"/>
                <a:gd name="connsiteY24" fmla="*/ 2424023 h 2734573"/>
                <a:gd name="connsiteX25" fmla="*/ 914400 w 931653"/>
                <a:gd name="connsiteY25" fmla="*/ 2493034 h 2734573"/>
                <a:gd name="connsiteX26" fmla="*/ 923027 w 931653"/>
                <a:gd name="connsiteY26" fmla="*/ 2734573 h 2734573"/>
                <a:gd name="connsiteX0" fmla="*/ 0 w 914400"/>
                <a:gd name="connsiteY0" fmla="*/ 0 h 2493034"/>
                <a:gd name="connsiteX1" fmla="*/ 60385 w 914400"/>
                <a:gd name="connsiteY1" fmla="*/ 94890 h 2493034"/>
                <a:gd name="connsiteX2" fmla="*/ 77638 w 914400"/>
                <a:gd name="connsiteY2" fmla="*/ 207034 h 2493034"/>
                <a:gd name="connsiteX3" fmla="*/ 155276 w 914400"/>
                <a:gd name="connsiteY3" fmla="*/ 362309 h 2493034"/>
                <a:gd name="connsiteX4" fmla="*/ 232913 w 914400"/>
                <a:gd name="connsiteY4" fmla="*/ 431321 h 2493034"/>
                <a:gd name="connsiteX5" fmla="*/ 250166 w 914400"/>
                <a:gd name="connsiteY5" fmla="*/ 621102 h 2493034"/>
                <a:gd name="connsiteX6" fmla="*/ 327804 w 914400"/>
                <a:gd name="connsiteY6" fmla="*/ 793630 h 2493034"/>
                <a:gd name="connsiteX7" fmla="*/ 379562 w 914400"/>
                <a:gd name="connsiteY7" fmla="*/ 854015 h 2493034"/>
                <a:gd name="connsiteX8" fmla="*/ 414068 w 914400"/>
                <a:gd name="connsiteY8" fmla="*/ 974785 h 2493034"/>
                <a:gd name="connsiteX9" fmla="*/ 465827 w 914400"/>
                <a:gd name="connsiteY9" fmla="*/ 1035170 h 2493034"/>
                <a:gd name="connsiteX10" fmla="*/ 483079 w 914400"/>
                <a:gd name="connsiteY10" fmla="*/ 1164566 h 2493034"/>
                <a:gd name="connsiteX11" fmla="*/ 603849 w 914400"/>
                <a:gd name="connsiteY11" fmla="*/ 1224951 h 2493034"/>
                <a:gd name="connsiteX12" fmla="*/ 776377 w 914400"/>
                <a:gd name="connsiteY12" fmla="*/ 1371600 h 2493034"/>
                <a:gd name="connsiteX13" fmla="*/ 819510 w 914400"/>
                <a:gd name="connsiteY13" fmla="*/ 1561381 h 2493034"/>
                <a:gd name="connsiteX14" fmla="*/ 698740 w 914400"/>
                <a:gd name="connsiteY14" fmla="*/ 1639019 h 2493034"/>
                <a:gd name="connsiteX15" fmla="*/ 638355 w 914400"/>
                <a:gd name="connsiteY15" fmla="*/ 1716656 h 2493034"/>
                <a:gd name="connsiteX16" fmla="*/ 517585 w 914400"/>
                <a:gd name="connsiteY16" fmla="*/ 1785668 h 2493034"/>
                <a:gd name="connsiteX17" fmla="*/ 353683 w 914400"/>
                <a:gd name="connsiteY17" fmla="*/ 1854679 h 2493034"/>
                <a:gd name="connsiteX18" fmla="*/ 353683 w 914400"/>
                <a:gd name="connsiteY18" fmla="*/ 1940943 h 2493034"/>
                <a:gd name="connsiteX19" fmla="*/ 319177 w 914400"/>
                <a:gd name="connsiteY19" fmla="*/ 2027207 h 2493034"/>
                <a:gd name="connsiteX20" fmla="*/ 431321 w 914400"/>
                <a:gd name="connsiteY20" fmla="*/ 2191109 h 2493034"/>
                <a:gd name="connsiteX21" fmla="*/ 543464 w 914400"/>
                <a:gd name="connsiteY21" fmla="*/ 2260121 h 2493034"/>
                <a:gd name="connsiteX22" fmla="*/ 612476 w 914400"/>
                <a:gd name="connsiteY22" fmla="*/ 2355011 h 2493034"/>
                <a:gd name="connsiteX23" fmla="*/ 759125 w 914400"/>
                <a:gd name="connsiteY23" fmla="*/ 2424023 h 2493034"/>
                <a:gd name="connsiteX24" fmla="*/ 819510 w 914400"/>
                <a:gd name="connsiteY24" fmla="*/ 2424023 h 2493034"/>
                <a:gd name="connsiteX25" fmla="*/ 914400 w 914400"/>
                <a:gd name="connsiteY25" fmla="*/ 2493034 h 249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14400" h="2493034">
                  <a:moveTo>
                    <a:pt x="0" y="0"/>
                  </a:moveTo>
                  <a:cubicBezTo>
                    <a:pt x="25879" y="24442"/>
                    <a:pt x="47445" y="60384"/>
                    <a:pt x="60385" y="94890"/>
                  </a:cubicBezTo>
                  <a:cubicBezTo>
                    <a:pt x="73325" y="129396"/>
                    <a:pt x="61823" y="162464"/>
                    <a:pt x="77638" y="207034"/>
                  </a:cubicBezTo>
                  <a:cubicBezTo>
                    <a:pt x="93453" y="251604"/>
                    <a:pt x="129397" y="324928"/>
                    <a:pt x="155276" y="362309"/>
                  </a:cubicBezTo>
                  <a:cubicBezTo>
                    <a:pt x="181155" y="399690"/>
                    <a:pt x="217098" y="388189"/>
                    <a:pt x="232913" y="431321"/>
                  </a:cubicBezTo>
                  <a:cubicBezTo>
                    <a:pt x="248728" y="474453"/>
                    <a:pt x="234351" y="560717"/>
                    <a:pt x="250166" y="621102"/>
                  </a:cubicBezTo>
                  <a:cubicBezTo>
                    <a:pt x="265981" y="681487"/>
                    <a:pt x="306238" y="754811"/>
                    <a:pt x="327804" y="793630"/>
                  </a:cubicBezTo>
                  <a:cubicBezTo>
                    <a:pt x="349370" y="832449"/>
                    <a:pt x="365185" y="823823"/>
                    <a:pt x="379562" y="854015"/>
                  </a:cubicBezTo>
                  <a:cubicBezTo>
                    <a:pt x="393939" y="884207"/>
                    <a:pt x="399691" y="944593"/>
                    <a:pt x="414068" y="974785"/>
                  </a:cubicBezTo>
                  <a:cubicBezTo>
                    <a:pt x="428446" y="1004978"/>
                    <a:pt x="454325" y="1003540"/>
                    <a:pt x="465827" y="1035170"/>
                  </a:cubicBezTo>
                  <a:cubicBezTo>
                    <a:pt x="477329" y="1066800"/>
                    <a:pt x="460075" y="1132936"/>
                    <a:pt x="483079" y="1164566"/>
                  </a:cubicBezTo>
                  <a:cubicBezTo>
                    <a:pt x="506083" y="1196196"/>
                    <a:pt x="554966" y="1190445"/>
                    <a:pt x="603849" y="1224951"/>
                  </a:cubicBezTo>
                  <a:cubicBezTo>
                    <a:pt x="652732" y="1259457"/>
                    <a:pt x="740434" y="1315528"/>
                    <a:pt x="776377" y="1371600"/>
                  </a:cubicBezTo>
                  <a:cubicBezTo>
                    <a:pt x="812320" y="1427672"/>
                    <a:pt x="832450" y="1516811"/>
                    <a:pt x="819510" y="1561381"/>
                  </a:cubicBezTo>
                  <a:cubicBezTo>
                    <a:pt x="806570" y="1605951"/>
                    <a:pt x="728932" y="1613140"/>
                    <a:pt x="698740" y="1639019"/>
                  </a:cubicBezTo>
                  <a:cubicBezTo>
                    <a:pt x="668548" y="1664898"/>
                    <a:pt x="668547" y="1692215"/>
                    <a:pt x="638355" y="1716656"/>
                  </a:cubicBezTo>
                  <a:cubicBezTo>
                    <a:pt x="608163" y="1741097"/>
                    <a:pt x="565030" y="1762664"/>
                    <a:pt x="517585" y="1785668"/>
                  </a:cubicBezTo>
                  <a:cubicBezTo>
                    <a:pt x="470140" y="1808672"/>
                    <a:pt x="381000" y="1828800"/>
                    <a:pt x="353683" y="1854679"/>
                  </a:cubicBezTo>
                  <a:cubicBezTo>
                    <a:pt x="326366" y="1880558"/>
                    <a:pt x="359434" y="1912188"/>
                    <a:pt x="353683" y="1940943"/>
                  </a:cubicBezTo>
                  <a:cubicBezTo>
                    <a:pt x="347932" y="1969698"/>
                    <a:pt x="306237" y="1985513"/>
                    <a:pt x="319177" y="2027207"/>
                  </a:cubicBezTo>
                  <a:cubicBezTo>
                    <a:pt x="332117" y="2068901"/>
                    <a:pt x="393940" y="2152290"/>
                    <a:pt x="431321" y="2191109"/>
                  </a:cubicBezTo>
                  <a:cubicBezTo>
                    <a:pt x="468702" y="2229928"/>
                    <a:pt x="513272" y="2232804"/>
                    <a:pt x="543464" y="2260121"/>
                  </a:cubicBezTo>
                  <a:cubicBezTo>
                    <a:pt x="573656" y="2287438"/>
                    <a:pt x="576533" y="2327694"/>
                    <a:pt x="612476" y="2355011"/>
                  </a:cubicBezTo>
                  <a:cubicBezTo>
                    <a:pt x="648420" y="2382328"/>
                    <a:pt x="724619" y="2412521"/>
                    <a:pt x="759125" y="2424023"/>
                  </a:cubicBezTo>
                  <a:cubicBezTo>
                    <a:pt x="793631" y="2435525"/>
                    <a:pt x="793631" y="2412521"/>
                    <a:pt x="819510" y="2424023"/>
                  </a:cubicBezTo>
                  <a:cubicBezTo>
                    <a:pt x="845389" y="2435525"/>
                    <a:pt x="897147" y="2441276"/>
                    <a:pt x="914400" y="2493034"/>
                  </a:cubicBezTo>
                </a:path>
              </a:pathLst>
            </a:custGeom>
            <a:ln w="152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0" name="Полилиния 299"/>
            <p:cNvSpPr/>
            <p:nvPr/>
          </p:nvSpPr>
          <p:spPr>
            <a:xfrm>
              <a:off x="5679271" y="1999890"/>
              <a:ext cx="2541703" cy="1314090"/>
            </a:xfrm>
            <a:custGeom>
              <a:avLst/>
              <a:gdLst>
                <a:gd name="connsiteX0" fmla="*/ 0 w 2717321"/>
                <a:gd name="connsiteY0" fmla="*/ 613913 h 1314090"/>
                <a:gd name="connsiteX1" fmla="*/ 103517 w 2717321"/>
                <a:gd name="connsiteY1" fmla="*/ 475890 h 1314090"/>
                <a:gd name="connsiteX2" fmla="*/ 250166 w 2717321"/>
                <a:gd name="connsiteY2" fmla="*/ 355120 h 1314090"/>
                <a:gd name="connsiteX3" fmla="*/ 431321 w 2717321"/>
                <a:gd name="connsiteY3" fmla="*/ 320615 h 1314090"/>
                <a:gd name="connsiteX4" fmla="*/ 603849 w 2717321"/>
                <a:gd name="connsiteY4" fmla="*/ 329241 h 1314090"/>
                <a:gd name="connsiteX5" fmla="*/ 750498 w 2717321"/>
                <a:gd name="connsiteY5" fmla="*/ 268856 h 1314090"/>
                <a:gd name="connsiteX6" fmla="*/ 836762 w 2717321"/>
                <a:gd name="connsiteY6" fmla="*/ 199845 h 1314090"/>
                <a:gd name="connsiteX7" fmla="*/ 966158 w 2717321"/>
                <a:gd name="connsiteY7" fmla="*/ 182592 h 1314090"/>
                <a:gd name="connsiteX8" fmla="*/ 1224951 w 2717321"/>
                <a:gd name="connsiteY8" fmla="*/ 10064 h 1314090"/>
                <a:gd name="connsiteX9" fmla="*/ 1311215 w 2717321"/>
                <a:gd name="connsiteY9" fmla="*/ 122207 h 1314090"/>
                <a:gd name="connsiteX10" fmla="*/ 1414732 w 2717321"/>
                <a:gd name="connsiteY10" fmla="*/ 208471 h 1314090"/>
                <a:gd name="connsiteX11" fmla="*/ 1466490 w 2717321"/>
                <a:gd name="connsiteY11" fmla="*/ 415505 h 1314090"/>
                <a:gd name="connsiteX12" fmla="*/ 1552755 w 2717321"/>
                <a:gd name="connsiteY12" fmla="*/ 536275 h 1314090"/>
                <a:gd name="connsiteX13" fmla="*/ 1595887 w 2717321"/>
                <a:gd name="connsiteY13" fmla="*/ 700177 h 1314090"/>
                <a:gd name="connsiteX14" fmla="*/ 1699404 w 2717321"/>
                <a:gd name="connsiteY14" fmla="*/ 786441 h 1314090"/>
                <a:gd name="connsiteX15" fmla="*/ 1871932 w 2717321"/>
                <a:gd name="connsiteY15" fmla="*/ 829573 h 1314090"/>
                <a:gd name="connsiteX16" fmla="*/ 2070339 w 2717321"/>
                <a:gd name="connsiteY16" fmla="*/ 924464 h 1314090"/>
                <a:gd name="connsiteX17" fmla="*/ 2130724 w 2717321"/>
                <a:gd name="connsiteY17" fmla="*/ 1027981 h 1314090"/>
                <a:gd name="connsiteX18" fmla="*/ 2216989 w 2717321"/>
                <a:gd name="connsiteY18" fmla="*/ 1131498 h 1314090"/>
                <a:gd name="connsiteX19" fmla="*/ 2449902 w 2717321"/>
                <a:gd name="connsiteY19" fmla="*/ 1286773 h 1314090"/>
                <a:gd name="connsiteX20" fmla="*/ 2510287 w 2717321"/>
                <a:gd name="connsiteY20" fmla="*/ 1295400 h 1314090"/>
                <a:gd name="connsiteX21" fmla="*/ 2579298 w 2717321"/>
                <a:gd name="connsiteY21" fmla="*/ 1226388 h 1314090"/>
                <a:gd name="connsiteX22" fmla="*/ 2570672 w 2717321"/>
                <a:gd name="connsiteY22" fmla="*/ 1148751 h 1314090"/>
                <a:gd name="connsiteX23" fmla="*/ 2717321 w 2717321"/>
                <a:gd name="connsiteY23" fmla="*/ 950343 h 1314090"/>
                <a:gd name="connsiteX0" fmla="*/ 0 w 2613804"/>
                <a:gd name="connsiteY0" fmla="*/ 475890 h 1314090"/>
                <a:gd name="connsiteX1" fmla="*/ 146649 w 2613804"/>
                <a:gd name="connsiteY1" fmla="*/ 355120 h 1314090"/>
                <a:gd name="connsiteX2" fmla="*/ 327804 w 2613804"/>
                <a:gd name="connsiteY2" fmla="*/ 320615 h 1314090"/>
                <a:gd name="connsiteX3" fmla="*/ 500332 w 2613804"/>
                <a:gd name="connsiteY3" fmla="*/ 329241 h 1314090"/>
                <a:gd name="connsiteX4" fmla="*/ 646981 w 2613804"/>
                <a:gd name="connsiteY4" fmla="*/ 268856 h 1314090"/>
                <a:gd name="connsiteX5" fmla="*/ 733245 w 2613804"/>
                <a:gd name="connsiteY5" fmla="*/ 199845 h 1314090"/>
                <a:gd name="connsiteX6" fmla="*/ 862641 w 2613804"/>
                <a:gd name="connsiteY6" fmla="*/ 182592 h 1314090"/>
                <a:gd name="connsiteX7" fmla="*/ 1121434 w 2613804"/>
                <a:gd name="connsiteY7" fmla="*/ 10064 h 1314090"/>
                <a:gd name="connsiteX8" fmla="*/ 1207698 w 2613804"/>
                <a:gd name="connsiteY8" fmla="*/ 122207 h 1314090"/>
                <a:gd name="connsiteX9" fmla="*/ 1311215 w 2613804"/>
                <a:gd name="connsiteY9" fmla="*/ 208471 h 1314090"/>
                <a:gd name="connsiteX10" fmla="*/ 1362973 w 2613804"/>
                <a:gd name="connsiteY10" fmla="*/ 415505 h 1314090"/>
                <a:gd name="connsiteX11" fmla="*/ 1449238 w 2613804"/>
                <a:gd name="connsiteY11" fmla="*/ 536275 h 1314090"/>
                <a:gd name="connsiteX12" fmla="*/ 1492370 w 2613804"/>
                <a:gd name="connsiteY12" fmla="*/ 700177 h 1314090"/>
                <a:gd name="connsiteX13" fmla="*/ 1595887 w 2613804"/>
                <a:gd name="connsiteY13" fmla="*/ 786441 h 1314090"/>
                <a:gd name="connsiteX14" fmla="*/ 1768415 w 2613804"/>
                <a:gd name="connsiteY14" fmla="*/ 829573 h 1314090"/>
                <a:gd name="connsiteX15" fmla="*/ 1966822 w 2613804"/>
                <a:gd name="connsiteY15" fmla="*/ 924464 h 1314090"/>
                <a:gd name="connsiteX16" fmla="*/ 2027207 w 2613804"/>
                <a:gd name="connsiteY16" fmla="*/ 1027981 h 1314090"/>
                <a:gd name="connsiteX17" fmla="*/ 2113472 w 2613804"/>
                <a:gd name="connsiteY17" fmla="*/ 1131498 h 1314090"/>
                <a:gd name="connsiteX18" fmla="*/ 2346385 w 2613804"/>
                <a:gd name="connsiteY18" fmla="*/ 1286773 h 1314090"/>
                <a:gd name="connsiteX19" fmla="*/ 2406770 w 2613804"/>
                <a:gd name="connsiteY19" fmla="*/ 1295400 h 1314090"/>
                <a:gd name="connsiteX20" fmla="*/ 2475781 w 2613804"/>
                <a:gd name="connsiteY20" fmla="*/ 1226388 h 1314090"/>
                <a:gd name="connsiteX21" fmla="*/ 2467155 w 2613804"/>
                <a:gd name="connsiteY21" fmla="*/ 1148751 h 1314090"/>
                <a:gd name="connsiteX22" fmla="*/ 2613804 w 2613804"/>
                <a:gd name="connsiteY22" fmla="*/ 950343 h 1314090"/>
                <a:gd name="connsiteX0" fmla="*/ 0 w 2467155"/>
                <a:gd name="connsiteY0" fmla="*/ 355120 h 1314090"/>
                <a:gd name="connsiteX1" fmla="*/ 181155 w 2467155"/>
                <a:gd name="connsiteY1" fmla="*/ 320615 h 1314090"/>
                <a:gd name="connsiteX2" fmla="*/ 353683 w 2467155"/>
                <a:gd name="connsiteY2" fmla="*/ 329241 h 1314090"/>
                <a:gd name="connsiteX3" fmla="*/ 500332 w 2467155"/>
                <a:gd name="connsiteY3" fmla="*/ 268856 h 1314090"/>
                <a:gd name="connsiteX4" fmla="*/ 586596 w 2467155"/>
                <a:gd name="connsiteY4" fmla="*/ 199845 h 1314090"/>
                <a:gd name="connsiteX5" fmla="*/ 715992 w 2467155"/>
                <a:gd name="connsiteY5" fmla="*/ 182592 h 1314090"/>
                <a:gd name="connsiteX6" fmla="*/ 974785 w 2467155"/>
                <a:gd name="connsiteY6" fmla="*/ 10064 h 1314090"/>
                <a:gd name="connsiteX7" fmla="*/ 1061049 w 2467155"/>
                <a:gd name="connsiteY7" fmla="*/ 122207 h 1314090"/>
                <a:gd name="connsiteX8" fmla="*/ 1164566 w 2467155"/>
                <a:gd name="connsiteY8" fmla="*/ 208471 h 1314090"/>
                <a:gd name="connsiteX9" fmla="*/ 1216324 w 2467155"/>
                <a:gd name="connsiteY9" fmla="*/ 415505 h 1314090"/>
                <a:gd name="connsiteX10" fmla="*/ 1302589 w 2467155"/>
                <a:gd name="connsiteY10" fmla="*/ 536275 h 1314090"/>
                <a:gd name="connsiteX11" fmla="*/ 1345721 w 2467155"/>
                <a:gd name="connsiteY11" fmla="*/ 700177 h 1314090"/>
                <a:gd name="connsiteX12" fmla="*/ 1449238 w 2467155"/>
                <a:gd name="connsiteY12" fmla="*/ 786441 h 1314090"/>
                <a:gd name="connsiteX13" fmla="*/ 1621766 w 2467155"/>
                <a:gd name="connsiteY13" fmla="*/ 829573 h 1314090"/>
                <a:gd name="connsiteX14" fmla="*/ 1820173 w 2467155"/>
                <a:gd name="connsiteY14" fmla="*/ 924464 h 1314090"/>
                <a:gd name="connsiteX15" fmla="*/ 1880558 w 2467155"/>
                <a:gd name="connsiteY15" fmla="*/ 1027981 h 1314090"/>
                <a:gd name="connsiteX16" fmla="*/ 1966823 w 2467155"/>
                <a:gd name="connsiteY16" fmla="*/ 1131498 h 1314090"/>
                <a:gd name="connsiteX17" fmla="*/ 2199736 w 2467155"/>
                <a:gd name="connsiteY17" fmla="*/ 1286773 h 1314090"/>
                <a:gd name="connsiteX18" fmla="*/ 2260121 w 2467155"/>
                <a:gd name="connsiteY18" fmla="*/ 1295400 h 1314090"/>
                <a:gd name="connsiteX19" fmla="*/ 2329132 w 2467155"/>
                <a:gd name="connsiteY19" fmla="*/ 1226388 h 1314090"/>
                <a:gd name="connsiteX20" fmla="*/ 2320506 w 2467155"/>
                <a:gd name="connsiteY20" fmla="*/ 1148751 h 1314090"/>
                <a:gd name="connsiteX21" fmla="*/ 2467155 w 2467155"/>
                <a:gd name="connsiteY21" fmla="*/ 950343 h 1314090"/>
                <a:gd name="connsiteX0" fmla="*/ 4863 w 2472018"/>
                <a:gd name="connsiteY0" fmla="*/ 355120 h 1314090"/>
                <a:gd name="connsiteX1" fmla="*/ 30192 w 2472018"/>
                <a:gd name="connsiteY1" fmla="*/ 337723 h 1314090"/>
                <a:gd name="connsiteX2" fmla="*/ 186018 w 2472018"/>
                <a:gd name="connsiteY2" fmla="*/ 320615 h 1314090"/>
                <a:gd name="connsiteX3" fmla="*/ 358546 w 2472018"/>
                <a:gd name="connsiteY3" fmla="*/ 329241 h 1314090"/>
                <a:gd name="connsiteX4" fmla="*/ 505195 w 2472018"/>
                <a:gd name="connsiteY4" fmla="*/ 268856 h 1314090"/>
                <a:gd name="connsiteX5" fmla="*/ 591459 w 2472018"/>
                <a:gd name="connsiteY5" fmla="*/ 199845 h 1314090"/>
                <a:gd name="connsiteX6" fmla="*/ 720855 w 2472018"/>
                <a:gd name="connsiteY6" fmla="*/ 182592 h 1314090"/>
                <a:gd name="connsiteX7" fmla="*/ 979648 w 2472018"/>
                <a:gd name="connsiteY7" fmla="*/ 10064 h 1314090"/>
                <a:gd name="connsiteX8" fmla="*/ 1065912 w 2472018"/>
                <a:gd name="connsiteY8" fmla="*/ 122207 h 1314090"/>
                <a:gd name="connsiteX9" fmla="*/ 1169429 w 2472018"/>
                <a:gd name="connsiteY9" fmla="*/ 208471 h 1314090"/>
                <a:gd name="connsiteX10" fmla="*/ 1221187 w 2472018"/>
                <a:gd name="connsiteY10" fmla="*/ 415505 h 1314090"/>
                <a:gd name="connsiteX11" fmla="*/ 1307452 w 2472018"/>
                <a:gd name="connsiteY11" fmla="*/ 536275 h 1314090"/>
                <a:gd name="connsiteX12" fmla="*/ 1350584 w 2472018"/>
                <a:gd name="connsiteY12" fmla="*/ 700177 h 1314090"/>
                <a:gd name="connsiteX13" fmla="*/ 1454101 w 2472018"/>
                <a:gd name="connsiteY13" fmla="*/ 786441 h 1314090"/>
                <a:gd name="connsiteX14" fmla="*/ 1626629 w 2472018"/>
                <a:gd name="connsiteY14" fmla="*/ 829573 h 1314090"/>
                <a:gd name="connsiteX15" fmla="*/ 1825036 w 2472018"/>
                <a:gd name="connsiteY15" fmla="*/ 924464 h 1314090"/>
                <a:gd name="connsiteX16" fmla="*/ 1885421 w 2472018"/>
                <a:gd name="connsiteY16" fmla="*/ 1027981 h 1314090"/>
                <a:gd name="connsiteX17" fmla="*/ 1971686 w 2472018"/>
                <a:gd name="connsiteY17" fmla="*/ 1131498 h 1314090"/>
                <a:gd name="connsiteX18" fmla="*/ 2204599 w 2472018"/>
                <a:gd name="connsiteY18" fmla="*/ 1286773 h 1314090"/>
                <a:gd name="connsiteX19" fmla="*/ 2264984 w 2472018"/>
                <a:gd name="connsiteY19" fmla="*/ 1295400 h 1314090"/>
                <a:gd name="connsiteX20" fmla="*/ 2333995 w 2472018"/>
                <a:gd name="connsiteY20" fmla="*/ 1226388 h 1314090"/>
                <a:gd name="connsiteX21" fmla="*/ 2325369 w 2472018"/>
                <a:gd name="connsiteY21" fmla="*/ 1148751 h 1314090"/>
                <a:gd name="connsiteX22" fmla="*/ 2472018 w 2472018"/>
                <a:gd name="connsiteY22" fmla="*/ 950343 h 1314090"/>
                <a:gd name="connsiteX0" fmla="*/ 74548 w 2541703"/>
                <a:gd name="connsiteY0" fmla="*/ 355120 h 1314090"/>
                <a:gd name="connsiteX1" fmla="*/ 99877 w 2541703"/>
                <a:gd name="connsiteY1" fmla="*/ 337723 h 1314090"/>
                <a:gd name="connsiteX2" fmla="*/ 255703 w 2541703"/>
                <a:gd name="connsiteY2" fmla="*/ 320615 h 1314090"/>
                <a:gd name="connsiteX3" fmla="*/ 428231 w 2541703"/>
                <a:gd name="connsiteY3" fmla="*/ 329241 h 1314090"/>
                <a:gd name="connsiteX4" fmla="*/ 574880 w 2541703"/>
                <a:gd name="connsiteY4" fmla="*/ 268856 h 1314090"/>
                <a:gd name="connsiteX5" fmla="*/ 661144 w 2541703"/>
                <a:gd name="connsiteY5" fmla="*/ 199845 h 1314090"/>
                <a:gd name="connsiteX6" fmla="*/ 790540 w 2541703"/>
                <a:gd name="connsiteY6" fmla="*/ 182592 h 1314090"/>
                <a:gd name="connsiteX7" fmla="*/ 1049333 w 2541703"/>
                <a:gd name="connsiteY7" fmla="*/ 10064 h 1314090"/>
                <a:gd name="connsiteX8" fmla="*/ 1135597 w 2541703"/>
                <a:gd name="connsiteY8" fmla="*/ 122207 h 1314090"/>
                <a:gd name="connsiteX9" fmla="*/ 1239114 w 2541703"/>
                <a:gd name="connsiteY9" fmla="*/ 208471 h 1314090"/>
                <a:gd name="connsiteX10" fmla="*/ 1290872 w 2541703"/>
                <a:gd name="connsiteY10" fmla="*/ 415505 h 1314090"/>
                <a:gd name="connsiteX11" fmla="*/ 1377137 w 2541703"/>
                <a:gd name="connsiteY11" fmla="*/ 536275 h 1314090"/>
                <a:gd name="connsiteX12" fmla="*/ 1420269 w 2541703"/>
                <a:gd name="connsiteY12" fmla="*/ 700177 h 1314090"/>
                <a:gd name="connsiteX13" fmla="*/ 1523786 w 2541703"/>
                <a:gd name="connsiteY13" fmla="*/ 786441 h 1314090"/>
                <a:gd name="connsiteX14" fmla="*/ 1696314 w 2541703"/>
                <a:gd name="connsiteY14" fmla="*/ 829573 h 1314090"/>
                <a:gd name="connsiteX15" fmla="*/ 1894721 w 2541703"/>
                <a:gd name="connsiteY15" fmla="*/ 924464 h 1314090"/>
                <a:gd name="connsiteX16" fmla="*/ 1955106 w 2541703"/>
                <a:gd name="connsiteY16" fmla="*/ 1027981 h 1314090"/>
                <a:gd name="connsiteX17" fmla="*/ 2041371 w 2541703"/>
                <a:gd name="connsiteY17" fmla="*/ 1131498 h 1314090"/>
                <a:gd name="connsiteX18" fmla="*/ 2274284 w 2541703"/>
                <a:gd name="connsiteY18" fmla="*/ 1286773 h 1314090"/>
                <a:gd name="connsiteX19" fmla="*/ 2334669 w 2541703"/>
                <a:gd name="connsiteY19" fmla="*/ 1295400 h 1314090"/>
                <a:gd name="connsiteX20" fmla="*/ 2403680 w 2541703"/>
                <a:gd name="connsiteY20" fmla="*/ 1226388 h 1314090"/>
                <a:gd name="connsiteX21" fmla="*/ 2395054 w 2541703"/>
                <a:gd name="connsiteY21" fmla="*/ 1148751 h 1314090"/>
                <a:gd name="connsiteX22" fmla="*/ 2541703 w 2541703"/>
                <a:gd name="connsiteY22" fmla="*/ 950343 h 1314090"/>
                <a:gd name="connsiteX0" fmla="*/ 74548 w 2541703"/>
                <a:gd name="connsiteY0" fmla="*/ 355120 h 1314090"/>
                <a:gd name="connsiteX1" fmla="*/ 99877 w 2541703"/>
                <a:gd name="connsiteY1" fmla="*/ 337723 h 1314090"/>
                <a:gd name="connsiteX2" fmla="*/ 255703 w 2541703"/>
                <a:gd name="connsiteY2" fmla="*/ 320615 h 1314090"/>
                <a:gd name="connsiteX3" fmla="*/ 428231 w 2541703"/>
                <a:gd name="connsiteY3" fmla="*/ 329241 h 1314090"/>
                <a:gd name="connsiteX4" fmla="*/ 574880 w 2541703"/>
                <a:gd name="connsiteY4" fmla="*/ 268856 h 1314090"/>
                <a:gd name="connsiteX5" fmla="*/ 661144 w 2541703"/>
                <a:gd name="connsiteY5" fmla="*/ 199845 h 1314090"/>
                <a:gd name="connsiteX6" fmla="*/ 790540 w 2541703"/>
                <a:gd name="connsiteY6" fmla="*/ 182592 h 1314090"/>
                <a:gd name="connsiteX7" fmla="*/ 1049333 w 2541703"/>
                <a:gd name="connsiteY7" fmla="*/ 10064 h 1314090"/>
                <a:gd name="connsiteX8" fmla="*/ 1135597 w 2541703"/>
                <a:gd name="connsiteY8" fmla="*/ 122207 h 1314090"/>
                <a:gd name="connsiteX9" fmla="*/ 1239114 w 2541703"/>
                <a:gd name="connsiteY9" fmla="*/ 208471 h 1314090"/>
                <a:gd name="connsiteX10" fmla="*/ 1290872 w 2541703"/>
                <a:gd name="connsiteY10" fmla="*/ 415505 h 1314090"/>
                <a:gd name="connsiteX11" fmla="*/ 1377137 w 2541703"/>
                <a:gd name="connsiteY11" fmla="*/ 536275 h 1314090"/>
                <a:gd name="connsiteX12" fmla="*/ 1420269 w 2541703"/>
                <a:gd name="connsiteY12" fmla="*/ 700177 h 1314090"/>
                <a:gd name="connsiteX13" fmla="*/ 1523786 w 2541703"/>
                <a:gd name="connsiteY13" fmla="*/ 786441 h 1314090"/>
                <a:gd name="connsiteX14" fmla="*/ 1696314 w 2541703"/>
                <a:gd name="connsiteY14" fmla="*/ 829573 h 1314090"/>
                <a:gd name="connsiteX15" fmla="*/ 1894721 w 2541703"/>
                <a:gd name="connsiteY15" fmla="*/ 924464 h 1314090"/>
                <a:gd name="connsiteX16" fmla="*/ 1911479 w 2541703"/>
                <a:gd name="connsiteY16" fmla="*/ 937673 h 1314090"/>
                <a:gd name="connsiteX17" fmla="*/ 1955106 w 2541703"/>
                <a:gd name="connsiteY17" fmla="*/ 1027981 h 1314090"/>
                <a:gd name="connsiteX18" fmla="*/ 2041371 w 2541703"/>
                <a:gd name="connsiteY18" fmla="*/ 1131498 h 1314090"/>
                <a:gd name="connsiteX19" fmla="*/ 2274284 w 2541703"/>
                <a:gd name="connsiteY19" fmla="*/ 1286773 h 1314090"/>
                <a:gd name="connsiteX20" fmla="*/ 2334669 w 2541703"/>
                <a:gd name="connsiteY20" fmla="*/ 1295400 h 1314090"/>
                <a:gd name="connsiteX21" fmla="*/ 2403680 w 2541703"/>
                <a:gd name="connsiteY21" fmla="*/ 1226388 h 1314090"/>
                <a:gd name="connsiteX22" fmla="*/ 2395054 w 2541703"/>
                <a:gd name="connsiteY22" fmla="*/ 1148751 h 1314090"/>
                <a:gd name="connsiteX23" fmla="*/ 2541703 w 2541703"/>
                <a:gd name="connsiteY23" fmla="*/ 950343 h 1314090"/>
                <a:gd name="connsiteX0" fmla="*/ 74548 w 2541703"/>
                <a:gd name="connsiteY0" fmla="*/ 355120 h 1314090"/>
                <a:gd name="connsiteX1" fmla="*/ 99877 w 2541703"/>
                <a:gd name="connsiteY1" fmla="*/ 337723 h 1314090"/>
                <a:gd name="connsiteX2" fmla="*/ 255703 w 2541703"/>
                <a:gd name="connsiteY2" fmla="*/ 320615 h 1314090"/>
                <a:gd name="connsiteX3" fmla="*/ 428231 w 2541703"/>
                <a:gd name="connsiteY3" fmla="*/ 329241 h 1314090"/>
                <a:gd name="connsiteX4" fmla="*/ 574880 w 2541703"/>
                <a:gd name="connsiteY4" fmla="*/ 268856 h 1314090"/>
                <a:gd name="connsiteX5" fmla="*/ 661144 w 2541703"/>
                <a:gd name="connsiteY5" fmla="*/ 199845 h 1314090"/>
                <a:gd name="connsiteX6" fmla="*/ 790540 w 2541703"/>
                <a:gd name="connsiteY6" fmla="*/ 182592 h 1314090"/>
                <a:gd name="connsiteX7" fmla="*/ 1049333 w 2541703"/>
                <a:gd name="connsiteY7" fmla="*/ 10064 h 1314090"/>
                <a:gd name="connsiteX8" fmla="*/ 1135597 w 2541703"/>
                <a:gd name="connsiteY8" fmla="*/ 122207 h 1314090"/>
                <a:gd name="connsiteX9" fmla="*/ 1239114 w 2541703"/>
                <a:gd name="connsiteY9" fmla="*/ 208471 h 1314090"/>
                <a:gd name="connsiteX10" fmla="*/ 1290872 w 2541703"/>
                <a:gd name="connsiteY10" fmla="*/ 415505 h 1314090"/>
                <a:gd name="connsiteX11" fmla="*/ 1377137 w 2541703"/>
                <a:gd name="connsiteY11" fmla="*/ 536275 h 1314090"/>
                <a:gd name="connsiteX12" fmla="*/ 1420269 w 2541703"/>
                <a:gd name="connsiteY12" fmla="*/ 700177 h 1314090"/>
                <a:gd name="connsiteX13" fmla="*/ 1523786 w 2541703"/>
                <a:gd name="connsiteY13" fmla="*/ 786441 h 1314090"/>
                <a:gd name="connsiteX14" fmla="*/ 1696314 w 2541703"/>
                <a:gd name="connsiteY14" fmla="*/ 829573 h 1314090"/>
                <a:gd name="connsiteX15" fmla="*/ 1894721 w 2541703"/>
                <a:gd name="connsiteY15" fmla="*/ 924464 h 1314090"/>
                <a:gd name="connsiteX16" fmla="*/ 1955106 w 2541703"/>
                <a:gd name="connsiteY16" fmla="*/ 1027981 h 1314090"/>
                <a:gd name="connsiteX17" fmla="*/ 2041371 w 2541703"/>
                <a:gd name="connsiteY17" fmla="*/ 1131498 h 1314090"/>
                <a:gd name="connsiteX18" fmla="*/ 2274284 w 2541703"/>
                <a:gd name="connsiteY18" fmla="*/ 1286773 h 1314090"/>
                <a:gd name="connsiteX19" fmla="*/ 2334669 w 2541703"/>
                <a:gd name="connsiteY19" fmla="*/ 1295400 h 1314090"/>
                <a:gd name="connsiteX20" fmla="*/ 2403680 w 2541703"/>
                <a:gd name="connsiteY20" fmla="*/ 1226388 h 1314090"/>
                <a:gd name="connsiteX21" fmla="*/ 2395054 w 2541703"/>
                <a:gd name="connsiteY21" fmla="*/ 1148751 h 1314090"/>
                <a:gd name="connsiteX22" fmla="*/ 2541703 w 2541703"/>
                <a:gd name="connsiteY22" fmla="*/ 950343 h 1314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41703" h="1314090">
                  <a:moveTo>
                    <a:pt x="74548" y="355120"/>
                  </a:moveTo>
                  <a:cubicBezTo>
                    <a:pt x="78770" y="352221"/>
                    <a:pt x="0" y="378258"/>
                    <a:pt x="99877" y="337723"/>
                  </a:cubicBezTo>
                  <a:cubicBezTo>
                    <a:pt x="130069" y="331972"/>
                    <a:pt x="200977" y="322029"/>
                    <a:pt x="255703" y="320615"/>
                  </a:cubicBezTo>
                  <a:cubicBezTo>
                    <a:pt x="310429" y="319201"/>
                    <a:pt x="375035" y="337868"/>
                    <a:pt x="428231" y="329241"/>
                  </a:cubicBezTo>
                  <a:cubicBezTo>
                    <a:pt x="481427" y="320615"/>
                    <a:pt x="536061" y="290422"/>
                    <a:pt x="574880" y="268856"/>
                  </a:cubicBezTo>
                  <a:cubicBezTo>
                    <a:pt x="613699" y="247290"/>
                    <a:pt x="625201" y="214222"/>
                    <a:pt x="661144" y="199845"/>
                  </a:cubicBezTo>
                  <a:cubicBezTo>
                    <a:pt x="697087" y="185468"/>
                    <a:pt x="725842" y="214222"/>
                    <a:pt x="790540" y="182592"/>
                  </a:cubicBezTo>
                  <a:cubicBezTo>
                    <a:pt x="855238" y="150962"/>
                    <a:pt x="991824" y="20128"/>
                    <a:pt x="1049333" y="10064"/>
                  </a:cubicBezTo>
                  <a:cubicBezTo>
                    <a:pt x="1106842" y="0"/>
                    <a:pt x="1103967" y="89139"/>
                    <a:pt x="1135597" y="122207"/>
                  </a:cubicBezTo>
                  <a:cubicBezTo>
                    <a:pt x="1167227" y="155275"/>
                    <a:pt x="1213235" y="159588"/>
                    <a:pt x="1239114" y="208471"/>
                  </a:cubicBezTo>
                  <a:cubicBezTo>
                    <a:pt x="1264993" y="257354"/>
                    <a:pt x="1267868" y="360871"/>
                    <a:pt x="1290872" y="415505"/>
                  </a:cubicBezTo>
                  <a:cubicBezTo>
                    <a:pt x="1313876" y="470139"/>
                    <a:pt x="1355571" y="488830"/>
                    <a:pt x="1377137" y="536275"/>
                  </a:cubicBezTo>
                  <a:cubicBezTo>
                    <a:pt x="1398703" y="583720"/>
                    <a:pt x="1395828" y="658483"/>
                    <a:pt x="1420269" y="700177"/>
                  </a:cubicBezTo>
                  <a:cubicBezTo>
                    <a:pt x="1444710" y="741871"/>
                    <a:pt x="1477779" y="764875"/>
                    <a:pt x="1523786" y="786441"/>
                  </a:cubicBezTo>
                  <a:cubicBezTo>
                    <a:pt x="1569793" y="808007"/>
                    <a:pt x="1634492" y="806569"/>
                    <a:pt x="1696314" y="829573"/>
                  </a:cubicBezTo>
                  <a:cubicBezTo>
                    <a:pt x="1758136" y="852577"/>
                    <a:pt x="1851589" y="891396"/>
                    <a:pt x="1894721" y="924464"/>
                  </a:cubicBezTo>
                  <a:cubicBezTo>
                    <a:pt x="1937853" y="957532"/>
                    <a:pt x="1930664" y="993475"/>
                    <a:pt x="1955106" y="1027981"/>
                  </a:cubicBezTo>
                  <a:cubicBezTo>
                    <a:pt x="1979548" y="1062487"/>
                    <a:pt x="1988175" y="1088366"/>
                    <a:pt x="2041371" y="1131498"/>
                  </a:cubicBezTo>
                  <a:cubicBezTo>
                    <a:pt x="2094567" y="1174630"/>
                    <a:pt x="2225401" y="1259456"/>
                    <a:pt x="2274284" y="1286773"/>
                  </a:cubicBezTo>
                  <a:cubicBezTo>
                    <a:pt x="2323167" y="1314090"/>
                    <a:pt x="2313103" y="1305464"/>
                    <a:pt x="2334669" y="1295400"/>
                  </a:cubicBezTo>
                  <a:cubicBezTo>
                    <a:pt x="2356235" y="1285336"/>
                    <a:pt x="2393616" y="1250829"/>
                    <a:pt x="2403680" y="1226388"/>
                  </a:cubicBezTo>
                  <a:cubicBezTo>
                    <a:pt x="2413744" y="1201947"/>
                    <a:pt x="2372050" y="1194759"/>
                    <a:pt x="2395054" y="1148751"/>
                  </a:cubicBezTo>
                  <a:cubicBezTo>
                    <a:pt x="2418058" y="1102743"/>
                    <a:pt x="2479880" y="1026543"/>
                    <a:pt x="2541703" y="950343"/>
                  </a:cubicBezTo>
                </a:path>
              </a:pathLst>
            </a:custGeom>
            <a:ln w="1524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2" name="Полилиния 301"/>
            <p:cNvSpPr/>
            <p:nvPr/>
          </p:nvSpPr>
          <p:spPr>
            <a:xfrm>
              <a:off x="2136570" y="2656935"/>
              <a:ext cx="3321169" cy="2346384"/>
            </a:xfrm>
            <a:custGeom>
              <a:avLst/>
              <a:gdLst>
                <a:gd name="connsiteX0" fmla="*/ 4123427 w 4123427"/>
                <a:gd name="connsiteY0" fmla="*/ 0 h 3104071"/>
                <a:gd name="connsiteX1" fmla="*/ 3881887 w 4123427"/>
                <a:gd name="connsiteY1" fmla="*/ 51758 h 3104071"/>
                <a:gd name="connsiteX2" fmla="*/ 3743864 w 4123427"/>
                <a:gd name="connsiteY2" fmla="*/ 172528 h 3104071"/>
                <a:gd name="connsiteX3" fmla="*/ 3545457 w 4123427"/>
                <a:gd name="connsiteY3" fmla="*/ 241539 h 3104071"/>
                <a:gd name="connsiteX4" fmla="*/ 3209027 w 4123427"/>
                <a:gd name="connsiteY4" fmla="*/ 362309 h 3104071"/>
                <a:gd name="connsiteX5" fmla="*/ 3027872 w 4123427"/>
                <a:gd name="connsiteY5" fmla="*/ 569343 h 3104071"/>
                <a:gd name="connsiteX6" fmla="*/ 2769080 w 4123427"/>
                <a:gd name="connsiteY6" fmla="*/ 690113 h 3104071"/>
                <a:gd name="connsiteX7" fmla="*/ 2553419 w 4123427"/>
                <a:gd name="connsiteY7" fmla="*/ 845389 h 3104071"/>
                <a:gd name="connsiteX8" fmla="*/ 2208363 w 4123427"/>
                <a:gd name="connsiteY8" fmla="*/ 940279 h 3104071"/>
                <a:gd name="connsiteX9" fmla="*/ 1889185 w 4123427"/>
                <a:gd name="connsiteY9" fmla="*/ 1061049 h 3104071"/>
                <a:gd name="connsiteX10" fmla="*/ 1647646 w 4123427"/>
                <a:gd name="connsiteY10" fmla="*/ 1199072 h 3104071"/>
                <a:gd name="connsiteX11" fmla="*/ 1285336 w 4123427"/>
                <a:gd name="connsiteY11" fmla="*/ 1483743 h 3104071"/>
                <a:gd name="connsiteX12" fmla="*/ 1164566 w 4123427"/>
                <a:gd name="connsiteY12" fmla="*/ 1656272 h 3104071"/>
                <a:gd name="connsiteX13" fmla="*/ 1009291 w 4123427"/>
                <a:gd name="connsiteY13" fmla="*/ 1975449 h 3104071"/>
                <a:gd name="connsiteX14" fmla="*/ 845389 w 4123427"/>
                <a:gd name="connsiteY14" fmla="*/ 2199736 h 3104071"/>
                <a:gd name="connsiteX15" fmla="*/ 802257 w 4123427"/>
                <a:gd name="connsiteY15" fmla="*/ 2346385 h 3104071"/>
                <a:gd name="connsiteX16" fmla="*/ 707366 w 4123427"/>
                <a:gd name="connsiteY16" fmla="*/ 2544792 h 3104071"/>
                <a:gd name="connsiteX17" fmla="*/ 517585 w 4123427"/>
                <a:gd name="connsiteY17" fmla="*/ 2769079 h 3104071"/>
                <a:gd name="connsiteX18" fmla="*/ 250166 w 4123427"/>
                <a:gd name="connsiteY18" fmla="*/ 2734573 h 3104071"/>
                <a:gd name="connsiteX19" fmla="*/ 258793 w 4123427"/>
                <a:gd name="connsiteY19" fmla="*/ 3045124 h 3104071"/>
                <a:gd name="connsiteX20" fmla="*/ 258793 w 4123427"/>
                <a:gd name="connsiteY20" fmla="*/ 3088256 h 3104071"/>
                <a:gd name="connsiteX21" fmla="*/ 0 w 4123427"/>
                <a:gd name="connsiteY21" fmla="*/ 2976113 h 3104071"/>
                <a:gd name="connsiteX0" fmla="*/ 3916393 w 3916393"/>
                <a:gd name="connsiteY0" fmla="*/ 0 h 3104071"/>
                <a:gd name="connsiteX1" fmla="*/ 3674853 w 3916393"/>
                <a:gd name="connsiteY1" fmla="*/ 51758 h 3104071"/>
                <a:gd name="connsiteX2" fmla="*/ 3536830 w 3916393"/>
                <a:gd name="connsiteY2" fmla="*/ 172528 h 3104071"/>
                <a:gd name="connsiteX3" fmla="*/ 3338423 w 3916393"/>
                <a:gd name="connsiteY3" fmla="*/ 241539 h 3104071"/>
                <a:gd name="connsiteX4" fmla="*/ 3001993 w 3916393"/>
                <a:gd name="connsiteY4" fmla="*/ 362309 h 3104071"/>
                <a:gd name="connsiteX5" fmla="*/ 2820838 w 3916393"/>
                <a:gd name="connsiteY5" fmla="*/ 569343 h 3104071"/>
                <a:gd name="connsiteX6" fmla="*/ 2562046 w 3916393"/>
                <a:gd name="connsiteY6" fmla="*/ 690113 h 3104071"/>
                <a:gd name="connsiteX7" fmla="*/ 2346385 w 3916393"/>
                <a:gd name="connsiteY7" fmla="*/ 845389 h 3104071"/>
                <a:gd name="connsiteX8" fmla="*/ 2001329 w 3916393"/>
                <a:gd name="connsiteY8" fmla="*/ 940279 h 3104071"/>
                <a:gd name="connsiteX9" fmla="*/ 1682151 w 3916393"/>
                <a:gd name="connsiteY9" fmla="*/ 1061049 h 3104071"/>
                <a:gd name="connsiteX10" fmla="*/ 1440612 w 3916393"/>
                <a:gd name="connsiteY10" fmla="*/ 1199072 h 3104071"/>
                <a:gd name="connsiteX11" fmla="*/ 1078302 w 3916393"/>
                <a:gd name="connsiteY11" fmla="*/ 1483743 h 3104071"/>
                <a:gd name="connsiteX12" fmla="*/ 957532 w 3916393"/>
                <a:gd name="connsiteY12" fmla="*/ 1656272 h 3104071"/>
                <a:gd name="connsiteX13" fmla="*/ 802257 w 3916393"/>
                <a:gd name="connsiteY13" fmla="*/ 1975449 h 3104071"/>
                <a:gd name="connsiteX14" fmla="*/ 638355 w 3916393"/>
                <a:gd name="connsiteY14" fmla="*/ 2199736 h 3104071"/>
                <a:gd name="connsiteX15" fmla="*/ 595223 w 3916393"/>
                <a:gd name="connsiteY15" fmla="*/ 2346385 h 3104071"/>
                <a:gd name="connsiteX16" fmla="*/ 500332 w 3916393"/>
                <a:gd name="connsiteY16" fmla="*/ 2544792 h 3104071"/>
                <a:gd name="connsiteX17" fmla="*/ 310551 w 3916393"/>
                <a:gd name="connsiteY17" fmla="*/ 2769079 h 3104071"/>
                <a:gd name="connsiteX18" fmla="*/ 43132 w 3916393"/>
                <a:gd name="connsiteY18" fmla="*/ 2734573 h 3104071"/>
                <a:gd name="connsiteX19" fmla="*/ 51759 w 3916393"/>
                <a:gd name="connsiteY19" fmla="*/ 3045124 h 3104071"/>
                <a:gd name="connsiteX20" fmla="*/ 51759 w 3916393"/>
                <a:gd name="connsiteY20" fmla="*/ 3088256 h 3104071"/>
                <a:gd name="connsiteX0" fmla="*/ 3916393 w 3916393"/>
                <a:gd name="connsiteY0" fmla="*/ 0 h 3045123"/>
                <a:gd name="connsiteX1" fmla="*/ 3674853 w 3916393"/>
                <a:gd name="connsiteY1" fmla="*/ 51758 h 3045123"/>
                <a:gd name="connsiteX2" fmla="*/ 3536830 w 3916393"/>
                <a:gd name="connsiteY2" fmla="*/ 172528 h 3045123"/>
                <a:gd name="connsiteX3" fmla="*/ 3338423 w 3916393"/>
                <a:gd name="connsiteY3" fmla="*/ 241539 h 3045123"/>
                <a:gd name="connsiteX4" fmla="*/ 3001993 w 3916393"/>
                <a:gd name="connsiteY4" fmla="*/ 362309 h 3045123"/>
                <a:gd name="connsiteX5" fmla="*/ 2820838 w 3916393"/>
                <a:gd name="connsiteY5" fmla="*/ 569343 h 3045123"/>
                <a:gd name="connsiteX6" fmla="*/ 2562046 w 3916393"/>
                <a:gd name="connsiteY6" fmla="*/ 690113 h 3045123"/>
                <a:gd name="connsiteX7" fmla="*/ 2346385 w 3916393"/>
                <a:gd name="connsiteY7" fmla="*/ 845389 h 3045123"/>
                <a:gd name="connsiteX8" fmla="*/ 2001329 w 3916393"/>
                <a:gd name="connsiteY8" fmla="*/ 940279 h 3045123"/>
                <a:gd name="connsiteX9" fmla="*/ 1682151 w 3916393"/>
                <a:gd name="connsiteY9" fmla="*/ 1061049 h 3045123"/>
                <a:gd name="connsiteX10" fmla="*/ 1440612 w 3916393"/>
                <a:gd name="connsiteY10" fmla="*/ 1199072 h 3045123"/>
                <a:gd name="connsiteX11" fmla="*/ 1078302 w 3916393"/>
                <a:gd name="connsiteY11" fmla="*/ 1483743 h 3045123"/>
                <a:gd name="connsiteX12" fmla="*/ 957532 w 3916393"/>
                <a:gd name="connsiteY12" fmla="*/ 1656272 h 3045123"/>
                <a:gd name="connsiteX13" fmla="*/ 802257 w 3916393"/>
                <a:gd name="connsiteY13" fmla="*/ 1975449 h 3045123"/>
                <a:gd name="connsiteX14" fmla="*/ 638355 w 3916393"/>
                <a:gd name="connsiteY14" fmla="*/ 2199736 h 3045123"/>
                <a:gd name="connsiteX15" fmla="*/ 595223 w 3916393"/>
                <a:gd name="connsiteY15" fmla="*/ 2346385 h 3045123"/>
                <a:gd name="connsiteX16" fmla="*/ 500332 w 3916393"/>
                <a:gd name="connsiteY16" fmla="*/ 2544792 h 3045123"/>
                <a:gd name="connsiteX17" fmla="*/ 310551 w 3916393"/>
                <a:gd name="connsiteY17" fmla="*/ 2769079 h 3045123"/>
                <a:gd name="connsiteX18" fmla="*/ 43132 w 3916393"/>
                <a:gd name="connsiteY18" fmla="*/ 2734573 h 3045123"/>
                <a:gd name="connsiteX19" fmla="*/ 51759 w 3916393"/>
                <a:gd name="connsiteY19" fmla="*/ 3045124 h 3045123"/>
                <a:gd name="connsiteX0" fmla="*/ 3873261 w 3873261"/>
                <a:gd name="connsiteY0" fmla="*/ 0 h 2800709"/>
                <a:gd name="connsiteX1" fmla="*/ 3631721 w 3873261"/>
                <a:gd name="connsiteY1" fmla="*/ 51758 h 2800709"/>
                <a:gd name="connsiteX2" fmla="*/ 3493698 w 3873261"/>
                <a:gd name="connsiteY2" fmla="*/ 172528 h 2800709"/>
                <a:gd name="connsiteX3" fmla="*/ 3295291 w 3873261"/>
                <a:gd name="connsiteY3" fmla="*/ 241539 h 2800709"/>
                <a:gd name="connsiteX4" fmla="*/ 2958861 w 3873261"/>
                <a:gd name="connsiteY4" fmla="*/ 362309 h 2800709"/>
                <a:gd name="connsiteX5" fmla="*/ 2777706 w 3873261"/>
                <a:gd name="connsiteY5" fmla="*/ 569343 h 2800709"/>
                <a:gd name="connsiteX6" fmla="*/ 2518914 w 3873261"/>
                <a:gd name="connsiteY6" fmla="*/ 690113 h 2800709"/>
                <a:gd name="connsiteX7" fmla="*/ 2303253 w 3873261"/>
                <a:gd name="connsiteY7" fmla="*/ 845389 h 2800709"/>
                <a:gd name="connsiteX8" fmla="*/ 1958197 w 3873261"/>
                <a:gd name="connsiteY8" fmla="*/ 940279 h 2800709"/>
                <a:gd name="connsiteX9" fmla="*/ 1639019 w 3873261"/>
                <a:gd name="connsiteY9" fmla="*/ 1061049 h 2800709"/>
                <a:gd name="connsiteX10" fmla="*/ 1397480 w 3873261"/>
                <a:gd name="connsiteY10" fmla="*/ 1199072 h 2800709"/>
                <a:gd name="connsiteX11" fmla="*/ 1035170 w 3873261"/>
                <a:gd name="connsiteY11" fmla="*/ 1483743 h 2800709"/>
                <a:gd name="connsiteX12" fmla="*/ 914400 w 3873261"/>
                <a:gd name="connsiteY12" fmla="*/ 1656272 h 2800709"/>
                <a:gd name="connsiteX13" fmla="*/ 759125 w 3873261"/>
                <a:gd name="connsiteY13" fmla="*/ 1975449 h 2800709"/>
                <a:gd name="connsiteX14" fmla="*/ 595223 w 3873261"/>
                <a:gd name="connsiteY14" fmla="*/ 2199736 h 2800709"/>
                <a:gd name="connsiteX15" fmla="*/ 552091 w 3873261"/>
                <a:gd name="connsiteY15" fmla="*/ 2346385 h 2800709"/>
                <a:gd name="connsiteX16" fmla="*/ 457200 w 3873261"/>
                <a:gd name="connsiteY16" fmla="*/ 2544792 h 2800709"/>
                <a:gd name="connsiteX17" fmla="*/ 267419 w 3873261"/>
                <a:gd name="connsiteY17" fmla="*/ 2769079 h 2800709"/>
                <a:gd name="connsiteX18" fmla="*/ 0 w 3873261"/>
                <a:gd name="connsiteY18" fmla="*/ 2734573 h 2800709"/>
                <a:gd name="connsiteX0" fmla="*/ 3605842 w 3605842"/>
                <a:gd name="connsiteY0" fmla="*/ 0 h 2769079"/>
                <a:gd name="connsiteX1" fmla="*/ 3364302 w 3605842"/>
                <a:gd name="connsiteY1" fmla="*/ 51758 h 2769079"/>
                <a:gd name="connsiteX2" fmla="*/ 3226279 w 3605842"/>
                <a:gd name="connsiteY2" fmla="*/ 172528 h 2769079"/>
                <a:gd name="connsiteX3" fmla="*/ 3027872 w 3605842"/>
                <a:gd name="connsiteY3" fmla="*/ 241539 h 2769079"/>
                <a:gd name="connsiteX4" fmla="*/ 2691442 w 3605842"/>
                <a:gd name="connsiteY4" fmla="*/ 362309 h 2769079"/>
                <a:gd name="connsiteX5" fmla="*/ 2510287 w 3605842"/>
                <a:gd name="connsiteY5" fmla="*/ 569343 h 2769079"/>
                <a:gd name="connsiteX6" fmla="*/ 2251495 w 3605842"/>
                <a:gd name="connsiteY6" fmla="*/ 690113 h 2769079"/>
                <a:gd name="connsiteX7" fmla="*/ 2035834 w 3605842"/>
                <a:gd name="connsiteY7" fmla="*/ 845389 h 2769079"/>
                <a:gd name="connsiteX8" fmla="*/ 1690778 w 3605842"/>
                <a:gd name="connsiteY8" fmla="*/ 940279 h 2769079"/>
                <a:gd name="connsiteX9" fmla="*/ 1371600 w 3605842"/>
                <a:gd name="connsiteY9" fmla="*/ 1061049 h 2769079"/>
                <a:gd name="connsiteX10" fmla="*/ 1130061 w 3605842"/>
                <a:gd name="connsiteY10" fmla="*/ 1199072 h 2769079"/>
                <a:gd name="connsiteX11" fmla="*/ 767751 w 3605842"/>
                <a:gd name="connsiteY11" fmla="*/ 1483743 h 2769079"/>
                <a:gd name="connsiteX12" fmla="*/ 646981 w 3605842"/>
                <a:gd name="connsiteY12" fmla="*/ 1656272 h 2769079"/>
                <a:gd name="connsiteX13" fmla="*/ 491706 w 3605842"/>
                <a:gd name="connsiteY13" fmla="*/ 1975449 h 2769079"/>
                <a:gd name="connsiteX14" fmla="*/ 327804 w 3605842"/>
                <a:gd name="connsiteY14" fmla="*/ 2199736 h 2769079"/>
                <a:gd name="connsiteX15" fmla="*/ 284672 w 3605842"/>
                <a:gd name="connsiteY15" fmla="*/ 2346385 h 2769079"/>
                <a:gd name="connsiteX16" fmla="*/ 189781 w 3605842"/>
                <a:gd name="connsiteY16" fmla="*/ 2544792 h 2769079"/>
                <a:gd name="connsiteX17" fmla="*/ 0 w 3605842"/>
                <a:gd name="connsiteY17" fmla="*/ 2769079 h 2769079"/>
                <a:gd name="connsiteX0" fmla="*/ 3416061 w 3416061"/>
                <a:gd name="connsiteY0" fmla="*/ 0 h 2544792"/>
                <a:gd name="connsiteX1" fmla="*/ 3174521 w 3416061"/>
                <a:gd name="connsiteY1" fmla="*/ 51758 h 2544792"/>
                <a:gd name="connsiteX2" fmla="*/ 3036498 w 3416061"/>
                <a:gd name="connsiteY2" fmla="*/ 172528 h 2544792"/>
                <a:gd name="connsiteX3" fmla="*/ 2838091 w 3416061"/>
                <a:gd name="connsiteY3" fmla="*/ 241539 h 2544792"/>
                <a:gd name="connsiteX4" fmla="*/ 2501661 w 3416061"/>
                <a:gd name="connsiteY4" fmla="*/ 362309 h 2544792"/>
                <a:gd name="connsiteX5" fmla="*/ 2320506 w 3416061"/>
                <a:gd name="connsiteY5" fmla="*/ 569343 h 2544792"/>
                <a:gd name="connsiteX6" fmla="*/ 2061714 w 3416061"/>
                <a:gd name="connsiteY6" fmla="*/ 690113 h 2544792"/>
                <a:gd name="connsiteX7" fmla="*/ 1846053 w 3416061"/>
                <a:gd name="connsiteY7" fmla="*/ 845389 h 2544792"/>
                <a:gd name="connsiteX8" fmla="*/ 1500997 w 3416061"/>
                <a:gd name="connsiteY8" fmla="*/ 940279 h 2544792"/>
                <a:gd name="connsiteX9" fmla="*/ 1181819 w 3416061"/>
                <a:gd name="connsiteY9" fmla="*/ 1061049 h 2544792"/>
                <a:gd name="connsiteX10" fmla="*/ 940280 w 3416061"/>
                <a:gd name="connsiteY10" fmla="*/ 1199072 h 2544792"/>
                <a:gd name="connsiteX11" fmla="*/ 577970 w 3416061"/>
                <a:gd name="connsiteY11" fmla="*/ 1483743 h 2544792"/>
                <a:gd name="connsiteX12" fmla="*/ 457200 w 3416061"/>
                <a:gd name="connsiteY12" fmla="*/ 1656272 h 2544792"/>
                <a:gd name="connsiteX13" fmla="*/ 301925 w 3416061"/>
                <a:gd name="connsiteY13" fmla="*/ 1975449 h 2544792"/>
                <a:gd name="connsiteX14" fmla="*/ 138023 w 3416061"/>
                <a:gd name="connsiteY14" fmla="*/ 2199736 h 2544792"/>
                <a:gd name="connsiteX15" fmla="*/ 94891 w 3416061"/>
                <a:gd name="connsiteY15" fmla="*/ 2346385 h 2544792"/>
                <a:gd name="connsiteX16" fmla="*/ 0 w 3416061"/>
                <a:gd name="connsiteY16" fmla="*/ 2544792 h 2544792"/>
                <a:gd name="connsiteX0" fmla="*/ 3321170 w 3321170"/>
                <a:gd name="connsiteY0" fmla="*/ 0 h 2346385"/>
                <a:gd name="connsiteX1" fmla="*/ 3079630 w 3321170"/>
                <a:gd name="connsiteY1" fmla="*/ 51758 h 2346385"/>
                <a:gd name="connsiteX2" fmla="*/ 2941607 w 3321170"/>
                <a:gd name="connsiteY2" fmla="*/ 172528 h 2346385"/>
                <a:gd name="connsiteX3" fmla="*/ 2743200 w 3321170"/>
                <a:gd name="connsiteY3" fmla="*/ 241539 h 2346385"/>
                <a:gd name="connsiteX4" fmla="*/ 2406770 w 3321170"/>
                <a:gd name="connsiteY4" fmla="*/ 362309 h 2346385"/>
                <a:gd name="connsiteX5" fmla="*/ 2225615 w 3321170"/>
                <a:gd name="connsiteY5" fmla="*/ 569343 h 2346385"/>
                <a:gd name="connsiteX6" fmla="*/ 1966823 w 3321170"/>
                <a:gd name="connsiteY6" fmla="*/ 690113 h 2346385"/>
                <a:gd name="connsiteX7" fmla="*/ 1751162 w 3321170"/>
                <a:gd name="connsiteY7" fmla="*/ 845389 h 2346385"/>
                <a:gd name="connsiteX8" fmla="*/ 1406106 w 3321170"/>
                <a:gd name="connsiteY8" fmla="*/ 940279 h 2346385"/>
                <a:gd name="connsiteX9" fmla="*/ 1086928 w 3321170"/>
                <a:gd name="connsiteY9" fmla="*/ 1061049 h 2346385"/>
                <a:gd name="connsiteX10" fmla="*/ 845389 w 3321170"/>
                <a:gd name="connsiteY10" fmla="*/ 1199072 h 2346385"/>
                <a:gd name="connsiteX11" fmla="*/ 483079 w 3321170"/>
                <a:gd name="connsiteY11" fmla="*/ 1483743 h 2346385"/>
                <a:gd name="connsiteX12" fmla="*/ 362309 w 3321170"/>
                <a:gd name="connsiteY12" fmla="*/ 1656272 h 2346385"/>
                <a:gd name="connsiteX13" fmla="*/ 207034 w 3321170"/>
                <a:gd name="connsiteY13" fmla="*/ 1975449 h 2346385"/>
                <a:gd name="connsiteX14" fmla="*/ 43132 w 3321170"/>
                <a:gd name="connsiteY14" fmla="*/ 2199736 h 2346385"/>
                <a:gd name="connsiteX15" fmla="*/ 0 w 3321170"/>
                <a:gd name="connsiteY15" fmla="*/ 2346385 h 2346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321170" h="2346385">
                  <a:moveTo>
                    <a:pt x="3321170" y="0"/>
                  </a:moveTo>
                  <a:cubicBezTo>
                    <a:pt x="3232030" y="11501"/>
                    <a:pt x="3142890" y="23003"/>
                    <a:pt x="3079630" y="51758"/>
                  </a:cubicBezTo>
                  <a:cubicBezTo>
                    <a:pt x="3016370" y="80513"/>
                    <a:pt x="2997679" y="140898"/>
                    <a:pt x="2941607" y="172528"/>
                  </a:cubicBezTo>
                  <a:cubicBezTo>
                    <a:pt x="2885535" y="204158"/>
                    <a:pt x="2743200" y="241539"/>
                    <a:pt x="2743200" y="241539"/>
                  </a:cubicBezTo>
                  <a:cubicBezTo>
                    <a:pt x="2654061" y="273169"/>
                    <a:pt x="2493034" y="307675"/>
                    <a:pt x="2406770" y="362309"/>
                  </a:cubicBezTo>
                  <a:cubicBezTo>
                    <a:pt x="2320506" y="416943"/>
                    <a:pt x="2298939" y="514709"/>
                    <a:pt x="2225615" y="569343"/>
                  </a:cubicBezTo>
                  <a:cubicBezTo>
                    <a:pt x="2152291" y="623977"/>
                    <a:pt x="2045899" y="644105"/>
                    <a:pt x="1966823" y="690113"/>
                  </a:cubicBezTo>
                  <a:cubicBezTo>
                    <a:pt x="1887748" y="736121"/>
                    <a:pt x="1844615" y="803695"/>
                    <a:pt x="1751162" y="845389"/>
                  </a:cubicBezTo>
                  <a:cubicBezTo>
                    <a:pt x="1657709" y="887083"/>
                    <a:pt x="1516812" y="904336"/>
                    <a:pt x="1406106" y="940279"/>
                  </a:cubicBezTo>
                  <a:cubicBezTo>
                    <a:pt x="1295400" y="976222"/>
                    <a:pt x="1180381" y="1017917"/>
                    <a:pt x="1086928" y="1061049"/>
                  </a:cubicBezTo>
                  <a:cubicBezTo>
                    <a:pt x="993475" y="1104181"/>
                    <a:pt x="946030" y="1128623"/>
                    <a:pt x="845389" y="1199072"/>
                  </a:cubicBezTo>
                  <a:cubicBezTo>
                    <a:pt x="744748" y="1269521"/>
                    <a:pt x="563592" y="1407543"/>
                    <a:pt x="483079" y="1483743"/>
                  </a:cubicBezTo>
                  <a:cubicBezTo>
                    <a:pt x="402566" y="1559943"/>
                    <a:pt x="408316" y="1574321"/>
                    <a:pt x="362309" y="1656272"/>
                  </a:cubicBezTo>
                  <a:cubicBezTo>
                    <a:pt x="316302" y="1738223"/>
                    <a:pt x="260230" y="1884872"/>
                    <a:pt x="207034" y="1975449"/>
                  </a:cubicBezTo>
                  <a:cubicBezTo>
                    <a:pt x="153838" y="2066026"/>
                    <a:pt x="77638" y="2137913"/>
                    <a:pt x="43132" y="2199736"/>
                  </a:cubicBezTo>
                  <a:cubicBezTo>
                    <a:pt x="8626" y="2261559"/>
                    <a:pt x="23004" y="2288876"/>
                    <a:pt x="0" y="2346385"/>
                  </a:cubicBezTo>
                </a:path>
              </a:pathLst>
            </a:custGeom>
            <a:ln w="152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00" name="Полилиния 199"/>
          <p:cNvSpPr/>
          <p:nvPr/>
        </p:nvSpPr>
        <p:spPr>
          <a:xfrm>
            <a:off x="5399930" y="2388071"/>
            <a:ext cx="301323" cy="315400"/>
          </a:xfrm>
          <a:custGeom>
            <a:avLst/>
            <a:gdLst>
              <a:gd name="connsiteX0" fmla="*/ 0 w 284671"/>
              <a:gd name="connsiteY0" fmla="*/ 0 h 319177"/>
              <a:gd name="connsiteX1" fmla="*/ 77637 w 284671"/>
              <a:gd name="connsiteY1" fmla="*/ 94890 h 319177"/>
              <a:gd name="connsiteX2" fmla="*/ 138022 w 284671"/>
              <a:gd name="connsiteY2" fmla="*/ 198407 h 319177"/>
              <a:gd name="connsiteX3" fmla="*/ 207034 w 284671"/>
              <a:gd name="connsiteY3" fmla="*/ 267419 h 319177"/>
              <a:gd name="connsiteX4" fmla="*/ 284671 w 284671"/>
              <a:gd name="connsiteY4" fmla="*/ 319177 h 319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671" h="319177">
                <a:moveTo>
                  <a:pt x="0" y="0"/>
                </a:moveTo>
                <a:cubicBezTo>
                  <a:pt x="27316" y="30911"/>
                  <a:pt x="54633" y="61822"/>
                  <a:pt x="77637" y="94890"/>
                </a:cubicBezTo>
                <a:cubicBezTo>
                  <a:pt x="100641" y="127958"/>
                  <a:pt x="116456" y="169652"/>
                  <a:pt x="138022" y="198407"/>
                </a:cubicBezTo>
                <a:cubicBezTo>
                  <a:pt x="159588" y="227162"/>
                  <a:pt x="182593" y="247291"/>
                  <a:pt x="207034" y="267419"/>
                </a:cubicBezTo>
                <a:cubicBezTo>
                  <a:pt x="231475" y="287547"/>
                  <a:pt x="258073" y="303362"/>
                  <a:pt x="284671" y="319177"/>
                </a:cubicBezTo>
              </a:path>
            </a:pathLst>
          </a:custGeom>
          <a:ln w="152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Полилиния 200"/>
          <p:cNvSpPr/>
          <p:nvPr/>
        </p:nvSpPr>
        <p:spPr>
          <a:xfrm>
            <a:off x="1089131" y="4406559"/>
            <a:ext cx="798377" cy="639875"/>
          </a:xfrm>
          <a:custGeom>
            <a:avLst/>
            <a:gdLst>
              <a:gd name="connsiteX0" fmla="*/ 776377 w 776377"/>
              <a:gd name="connsiteY0" fmla="*/ 0 h 605287"/>
              <a:gd name="connsiteX1" fmla="*/ 724619 w 776377"/>
              <a:gd name="connsiteY1" fmla="*/ 120770 h 605287"/>
              <a:gd name="connsiteX2" fmla="*/ 603849 w 776377"/>
              <a:gd name="connsiteY2" fmla="*/ 267419 h 605287"/>
              <a:gd name="connsiteX3" fmla="*/ 517585 w 776377"/>
              <a:gd name="connsiteY3" fmla="*/ 345057 h 605287"/>
              <a:gd name="connsiteX4" fmla="*/ 353683 w 776377"/>
              <a:gd name="connsiteY4" fmla="*/ 319178 h 605287"/>
              <a:gd name="connsiteX5" fmla="*/ 276045 w 776377"/>
              <a:gd name="connsiteY5" fmla="*/ 301925 h 605287"/>
              <a:gd name="connsiteX6" fmla="*/ 224287 w 776377"/>
              <a:gd name="connsiteY6" fmla="*/ 353683 h 605287"/>
              <a:gd name="connsiteX7" fmla="*/ 250166 w 776377"/>
              <a:gd name="connsiteY7" fmla="*/ 508959 h 605287"/>
              <a:gd name="connsiteX8" fmla="*/ 258792 w 776377"/>
              <a:gd name="connsiteY8" fmla="*/ 595223 h 605287"/>
              <a:gd name="connsiteX9" fmla="*/ 129396 w 776377"/>
              <a:gd name="connsiteY9" fmla="*/ 569344 h 605287"/>
              <a:gd name="connsiteX10" fmla="*/ 0 w 776377"/>
              <a:gd name="connsiteY10" fmla="*/ 517585 h 605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76377" h="605287">
                <a:moveTo>
                  <a:pt x="776377" y="0"/>
                </a:moveTo>
                <a:cubicBezTo>
                  <a:pt x="764875" y="38100"/>
                  <a:pt x="753374" y="76200"/>
                  <a:pt x="724619" y="120770"/>
                </a:cubicBezTo>
                <a:cubicBezTo>
                  <a:pt x="695864" y="165340"/>
                  <a:pt x="638355" y="230038"/>
                  <a:pt x="603849" y="267419"/>
                </a:cubicBezTo>
                <a:cubicBezTo>
                  <a:pt x="569343" y="304800"/>
                  <a:pt x="559279" y="336430"/>
                  <a:pt x="517585" y="345057"/>
                </a:cubicBezTo>
                <a:cubicBezTo>
                  <a:pt x="475891" y="353684"/>
                  <a:pt x="393939" y="326367"/>
                  <a:pt x="353683" y="319178"/>
                </a:cubicBezTo>
                <a:cubicBezTo>
                  <a:pt x="313427" y="311989"/>
                  <a:pt x="297611" y="296174"/>
                  <a:pt x="276045" y="301925"/>
                </a:cubicBezTo>
                <a:cubicBezTo>
                  <a:pt x="254479" y="307676"/>
                  <a:pt x="228600" y="319177"/>
                  <a:pt x="224287" y="353683"/>
                </a:cubicBezTo>
                <a:cubicBezTo>
                  <a:pt x="219974" y="388189"/>
                  <a:pt x="244415" y="468702"/>
                  <a:pt x="250166" y="508959"/>
                </a:cubicBezTo>
                <a:cubicBezTo>
                  <a:pt x="255917" y="549216"/>
                  <a:pt x="278920" y="585159"/>
                  <a:pt x="258792" y="595223"/>
                </a:cubicBezTo>
                <a:cubicBezTo>
                  <a:pt x="238664" y="605287"/>
                  <a:pt x="172528" y="582284"/>
                  <a:pt x="129396" y="569344"/>
                </a:cubicBezTo>
                <a:cubicBezTo>
                  <a:pt x="86264" y="556404"/>
                  <a:pt x="43132" y="536994"/>
                  <a:pt x="0" y="517585"/>
                </a:cubicBezTo>
              </a:path>
            </a:pathLst>
          </a:custGeom>
          <a:ln w="1524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2" name="Полилиния 201"/>
          <p:cNvSpPr/>
          <p:nvPr/>
        </p:nvSpPr>
        <p:spPr>
          <a:xfrm>
            <a:off x="5397076" y="2113515"/>
            <a:ext cx="237407" cy="213109"/>
          </a:xfrm>
          <a:custGeom>
            <a:avLst/>
            <a:gdLst>
              <a:gd name="connsiteX0" fmla="*/ 0 w 224287"/>
              <a:gd name="connsiteY0" fmla="*/ 215661 h 215661"/>
              <a:gd name="connsiteX1" fmla="*/ 77638 w 224287"/>
              <a:gd name="connsiteY1" fmla="*/ 129397 h 215661"/>
              <a:gd name="connsiteX2" fmla="*/ 146649 w 224287"/>
              <a:gd name="connsiteY2" fmla="*/ 60385 h 215661"/>
              <a:gd name="connsiteX3" fmla="*/ 224287 w 224287"/>
              <a:gd name="connsiteY3" fmla="*/ 0 h 215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287" h="215661">
                <a:moveTo>
                  <a:pt x="0" y="215661"/>
                </a:moveTo>
                <a:cubicBezTo>
                  <a:pt x="26598" y="185468"/>
                  <a:pt x="53196" y="155276"/>
                  <a:pt x="77638" y="129397"/>
                </a:cubicBezTo>
                <a:cubicBezTo>
                  <a:pt x="102080" y="103518"/>
                  <a:pt x="122208" y="81951"/>
                  <a:pt x="146649" y="60385"/>
                </a:cubicBezTo>
                <a:cubicBezTo>
                  <a:pt x="171090" y="38819"/>
                  <a:pt x="197688" y="19409"/>
                  <a:pt x="224287" y="0"/>
                </a:cubicBezTo>
              </a:path>
            </a:pathLst>
          </a:custGeom>
          <a:ln w="1524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4" name="Полилиния 203"/>
          <p:cNvSpPr/>
          <p:nvPr/>
        </p:nvSpPr>
        <p:spPr>
          <a:xfrm>
            <a:off x="5437406" y="1809748"/>
            <a:ext cx="1230027" cy="480026"/>
          </a:xfrm>
          <a:custGeom>
            <a:avLst/>
            <a:gdLst>
              <a:gd name="connsiteX0" fmla="*/ 0 w 1162050"/>
              <a:gd name="connsiteY0" fmla="*/ 485775 h 485775"/>
              <a:gd name="connsiteX1" fmla="*/ 52388 w 1162050"/>
              <a:gd name="connsiteY1" fmla="*/ 423862 h 485775"/>
              <a:gd name="connsiteX2" fmla="*/ 147638 w 1162050"/>
              <a:gd name="connsiteY2" fmla="*/ 338137 h 485775"/>
              <a:gd name="connsiteX3" fmla="*/ 185738 w 1162050"/>
              <a:gd name="connsiteY3" fmla="*/ 309562 h 485775"/>
              <a:gd name="connsiteX4" fmla="*/ 300038 w 1162050"/>
              <a:gd name="connsiteY4" fmla="*/ 271462 h 485775"/>
              <a:gd name="connsiteX5" fmla="*/ 419100 w 1162050"/>
              <a:gd name="connsiteY5" fmla="*/ 271462 h 485775"/>
              <a:gd name="connsiteX6" fmla="*/ 514350 w 1162050"/>
              <a:gd name="connsiteY6" fmla="*/ 280987 h 485775"/>
              <a:gd name="connsiteX7" fmla="*/ 638175 w 1162050"/>
              <a:gd name="connsiteY7" fmla="*/ 261937 h 485775"/>
              <a:gd name="connsiteX8" fmla="*/ 709613 w 1162050"/>
              <a:gd name="connsiteY8" fmla="*/ 214312 h 485775"/>
              <a:gd name="connsiteX9" fmla="*/ 795338 w 1162050"/>
              <a:gd name="connsiteY9" fmla="*/ 161925 h 485775"/>
              <a:gd name="connsiteX10" fmla="*/ 919163 w 1162050"/>
              <a:gd name="connsiteY10" fmla="*/ 157162 h 485775"/>
              <a:gd name="connsiteX11" fmla="*/ 990600 w 1162050"/>
              <a:gd name="connsiteY11" fmla="*/ 119062 h 485775"/>
              <a:gd name="connsiteX12" fmla="*/ 1090613 w 1162050"/>
              <a:gd name="connsiteY12" fmla="*/ 52387 h 485775"/>
              <a:gd name="connsiteX13" fmla="*/ 1162050 w 1162050"/>
              <a:gd name="connsiteY13" fmla="*/ 0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62050" h="485775">
                <a:moveTo>
                  <a:pt x="0" y="485775"/>
                </a:moveTo>
                <a:cubicBezTo>
                  <a:pt x="13891" y="467121"/>
                  <a:pt x="27782" y="448468"/>
                  <a:pt x="52388" y="423862"/>
                </a:cubicBezTo>
                <a:cubicBezTo>
                  <a:pt x="76994" y="399256"/>
                  <a:pt x="125413" y="357187"/>
                  <a:pt x="147638" y="338137"/>
                </a:cubicBezTo>
                <a:cubicBezTo>
                  <a:pt x="169863" y="319087"/>
                  <a:pt x="160338" y="320674"/>
                  <a:pt x="185738" y="309562"/>
                </a:cubicBezTo>
                <a:cubicBezTo>
                  <a:pt x="211138" y="298450"/>
                  <a:pt x="261144" y="277812"/>
                  <a:pt x="300038" y="271462"/>
                </a:cubicBezTo>
                <a:cubicBezTo>
                  <a:pt x="338932" y="265112"/>
                  <a:pt x="383381" y="269875"/>
                  <a:pt x="419100" y="271462"/>
                </a:cubicBezTo>
                <a:cubicBezTo>
                  <a:pt x="454819" y="273049"/>
                  <a:pt x="477838" y="282574"/>
                  <a:pt x="514350" y="280987"/>
                </a:cubicBezTo>
                <a:cubicBezTo>
                  <a:pt x="550862" y="279400"/>
                  <a:pt x="605631" y="273049"/>
                  <a:pt x="638175" y="261937"/>
                </a:cubicBezTo>
                <a:cubicBezTo>
                  <a:pt x="670719" y="250825"/>
                  <a:pt x="683419" y="230981"/>
                  <a:pt x="709613" y="214312"/>
                </a:cubicBezTo>
                <a:cubicBezTo>
                  <a:pt x="735807" y="197643"/>
                  <a:pt x="760413" y="171450"/>
                  <a:pt x="795338" y="161925"/>
                </a:cubicBezTo>
                <a:cubicBezTo>
                  <a:pt x="830263" y="152400"/>
                  <a:pt x="886619" y="164306"/>
                  <a:pt x="919163" y="157162"/>
                </a:cubicBezTo>
                <a:cubicBezTo>
                  <a:pt x="951707" y="150018"/>
                  <a:pt x="962025" y="136524"/>
                  <a:pt x="990600" y="119062"/>
                </a:cubicBezTo>
                <a:cubicBezTo>
                  <a:pt x="1019175" y="101600"/>
                  <a:pt x="1062038" y="72231"/>
                  <a:pt x="1090613" y="52387"/>
                </a:cubicBezTo>
                <a:cubicBezTo>
                  <a:pt x="1119188" y="32543"/>
                  <a:pt x="1140619" y="16271"/>
                  <a:pt x="1162050" y="0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05" name="Полилиния 204"/>
          <p:cNvSpPr/>
          <p:nvPr/>
        </p:nvSpPr>
        <p:spPr>
          <a:xfrm>
            <a:off x="5397076" y="1781505"/>
            <a:ext cx="1240949" cy="491008"/>
          </a:xfrm>
          <a:custGeom>
            <a:avLst/>
            <a:gdLst>
              <a:gd name="connsiteX0" fmla="*/ 0 w 1172369"/>
              <a:gd name="connsiteY0" fmla="*/ 496888 h 496888"/>
              <a:gd name="connsiteX1" fmla="*/ 47625 w 1172369"/>
              <a:gd name="connsiteY1" fmla="*/ 434976 h 496888"/>
              <a:gd name="connsiteX2" fmla="*/ 119063 w 1172369"/>
              <a:gd name="connsiteY2" fmla="*/ 373063 h 496888"/>
              <a:gd name="connsiteX3" fmla="*/ 200025 w 1172369"/>
              <a:gd name="connsiteY3" fmla="*/ 306388 h 496888"/>
              <a:gd name="connsiteX4" fmla="*/ 328613 w 1172369"/>
              <a:gd name="connsiteY4" fmla="*/ 258763 h 496888"/>
              <a:gd name="connsiteX5" fmla="*/ 442913 w 1172369"/>
              <a:gd name="connsiteY5" fmla="*/ 263526 h 496888"/>
              <a:gd name="connsiteX6" fmla="*/ 528638 w 1172369"/>
              <a:gd name="connsiteY6" fmla="*/ 263526 h 496888"/>
              <a:gd name="connsiteX7" fmla="*/ 647700 w 1172369"/>
              <a:gd name="connsiteY7" fmla="*/ 258763 h 496888"/>
              <a:gd name="connsiteX8" fmla="*/ 733425 w 1172369"/>
              <a:gd name="connsiteY8" fmla="*/ 206376 h 496888"/>
              <a:gd name="connsiteX9" fmla="*/ 804863 w 1172369"/>
              <a:gd name="connsiteY9" fmla="*/ 153988 h 496888"/>
              <a:gd name="connsiteX10" fmla="*/ 923925 w 1172369"/>
              <a:gd name="connsiteY10" fmla="*/ 153988 h 496888"/>
              <a:gd name="connsiteX11" fmla="*/ 1009650 w 1172369"/>
              <a:gd name="connsiteY11" fmla="*/ 120651 h 496888"/>
              <a:gd name="connsiteX12" fmla="*/ 1081088 w 1172369"/>
              <a:gd name="connsiteY12" fmla="*/ 68263 h 496888"/>
              <a:gd name="connsiteX13" fmla="*/ 1157288 w 1172369"/>
              <a:gd name="connsiteY13" fmla="*/ 11113 h 496888"/>
              <a:gd name="connsiteX14" fmla="*/ 1171575 w 1172369"/>
              <a:gd name="connsiteY14" fmla="*/ 1588 h 496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72369" h="496888">
                <a:moveTo>
                  <a:pt x="0" y="496888"/>
                </a:moveTo>
                <a:cubicBezTo>
                  <a:pt x="13890" y="476251"/>
                  <a:pt x="27781" y="455614"/>
                  <a:pt x="47625" y="434976"/>
                </a:cubicBezTo>
                <a:cubicBezTo>
                  <a:pt x="67469" y="414338"/>
                  <a:pt x="93663" y="394494"/>
                  <a:pt x="119063" y="373063"/>
                </a:cubicBezTo>
                <a:cubicBezTo>
                  <a:pt x="144463" y="351632"/>
                  <a:pt x="165100" y="325438"/>
                  <a:pt x="200025" y="306388"/>
                </a:cubicBezTo>
                <a:cubicBezTo>
                  <a:pt x="234950" y="287338"/>
                  <a:pt x="288132" y="265907"/>
                  <a:pt x="328613" y="258763"/>
                </a:cubicBezTo>
                <a:cubicBezTo>
                  <a:pt x="369094" y="251619"/>
                  <a:pt x="409576" y="262732"/>
                  <a:pt x="442913" y="263526"/>
                </a:cubicBezTo>
                <a:cubicBezTo>
                  <a:pt x="476250" y="264320"/>
                  <a:pt x="494507" y="264320"/>
                  <a:pt x="528638" y="263526"/>
                </a:cubicBezTo>
                <a:cubicBezTo>
                  <a:pt x="562769" y="262732"/>
                  <a:pt x="613569" y="268288"/>
                  <a:pt x="647700" y="258763"/>
                </a:cubicBezTo>
                <a:cubicBezTo>
                  <a:pt x="681831" y="249238"/>
                  <a:pt x="707231" y="223838"/>
                  <a:pt x="733425" y="206376"/>
                </a:cubicBezTo>
                <a:cubicBezTo>
                  <a:pt x="759619" y="188914"/>
                  <a:pt x="773113" y="162719"/>
                  <a:pt x="804863" y="153988"/>
                </a:cubicBezTo>
                <a:cubicBezTo>
                  <a:pt x="836613" y="145257"/>
                  <a:pt x="889794" y="159544"/>
                  <a:pt x="923925" y="153988"/>
                </a:cubicBezTo>
                <a:cubicBezTo>
                  <a:pt x="958056" y="148432"/>
                  <a:pt x="983456" y="134938"/>
                  <a:pt x="1009650" y="120651"/>
                </a:cubicBezTo>
                <a:cubicBezTo>
                  <a:pt x="1035844" y="106364"/>
                  <a:pt x="1081088" y="68263"/>
                  <a:pt x="1081088" y="68263"/>
                </a:cubicBezTo>
                <a:lnTo>
                  <a:pt x="1157288" y="11113"/>
                </a:lnTo>
                <a:cubicBezTo>
                  <a:pt x="1172369" y="0"/>
                  <a:pt x="1171972" y="794"/>
                  <a:pt x="1171575" y="1588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06" name="Полилиния 205"/>
          <p:cNvSpPr/>
          <p:nvPr/>
        </p:nvSpPr>
        <p:spPr>
          <a:xfrm>
            <a:off x="5467652" y="1870927"/>
            <a:ext cx="1179616" cy="451789"/>
          </a:xfrm>
          <a:custGeom>
            <a:avLst/>
            <a:gdLst>
              <a:gd name="connsiteX0" fmla="*/ 0 w 1114425"/>
              <a:gd name="connsiteY0" fmla="*/ 457200 h 457200"/>
              <a:gd name="connsiteX1" fmla="*/ 47625 w 1114425"/>
              <a:gd name="connsiteY1" fmla="*/ 400050 h 457200"/>
              <a:gd name="connsiteX2" fmla="*/ 90488 w 1114425"/>
              <a:gd name="connsiteY2" fmla="*/ 357188 h 457200"/>
              <a:gd name="connsiteX3" fmla="*/ 161925 w 1114425"/>
              <a:gd name="connsiteY3" fmla="*/ 290513 h 457200"/>
              <a:gd name="connsiteX4" fmla="*/ 219075 w 1114425"/>
              <a:gd name="connsiteY4" fmla="*/ 271463 h 457200"/>
              <a:gd name="connsiteX5" fmla="*/ 285750 w 1114425"/>
              <a:gd name="connsiteY5" fmla="*/ 247650 h 457200"/>
              <a:gd name="connsiteX6" fmla="*/ 385763 w 1114425"/>
              <a:gd name="connsiteY6" fmla="*/ 252413 h 457200"/>
              <a:gd name="connsiteX7" fmla="*/ 471488 w 1114425"/>
              <a:gd name="connsiteY7" fmla="*/ 261938 h 457200"/>
              <a:gd name="connsiteX8" fmla="*/ 576263 w 1114425"/>
              <a:gd name="connsiteY8" fmla="*/ 261938 h 457200"/>
              <a:gd name="connsiteX9" fmla="*/ 690563 w 1114425"/>
              <a:gd name="connsiteY9" fmla="*/ 214313 h 457200"/>
              <a:gd name="connsiteX10" fmla="*/ 738188 w 1114425"/>
              <a:gd name="connsiteY10" fmla="*/ 161925 h 457200"/>
              <a:gd name="connsiteX11" fmla="*/ 804863 w 1114425"/>
              <a:gd name="connsiteY11" fmla="*/ 142875 h 457200"/>
              <a:gd name="connsiteX12" fmla="*/ 876300 w 1114425"/>
              <a:gd name="connsiteY12" fmla="*/ 138113 h 457200"/>
              <a:gd name="connsiteX13" fmla="*/ 966788 w 1114425"/>
              <a:gd name="connsiteY13" fmla="*/ 104775 h 457200"/>
              <a:gd name="connsiteX14" fmla="*/ 1028700 w 1114425"/>
              <a:gd name="connsiteY14" fmla="*/ 61913 h 457200"/>
              <a:gd name="connsiteX15" fmla="*/ 1090613 w 1114425"/>
              <a:gd name="connsiteY15" fmla="*/ 23813 h 457200"/>
              <a:gd name="connsiteX16" fmla="*/ 1114425 w 1114425"/>
              <a:gd name="connsiteY16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14425" h="457200">
                <a:moveTo>
                  <a:pt x="0" y="457200"/>
                </a:moveTo>
                <a:cubicBezTo>
                  <a:pt x="16272" y="436959"/>
                  <a:pt x="32544" y="416719"/>
                  <a:pt x="47625" y="400050"/>
                </a:cubicBezTo>
                <a:cubicBezTo>
                  <a:pt x="62706" y="383381"/>
                  <a:pt x="71438" y="375444"/>
                  <a:pt x="90488" y="357188"/>
                </a:cubicBezTo>
                <a:cubicBezTo>
                  <a:pt x="109538" y="338932"/>
                  <a:pt x="140494" y="304801"/>
                  <a:pt x="161925" y="290513"/>
                </a:cubicBezTo>
                <a:cubicBezTo>
                  <a:pt x="183356" y="276226"/>
                  <a:pt x="198438" y="278607"/>
                  <a:pt x="219075" y="271463"/>
                </a:cubicBezTo>
                <a:cubicBezTo>
                  <a:pt x="239712" y="264319"/>
                  <a:pt x="257969" y="250825"/>
                  <a:pt x="285750" y="247650"/>
                </a:cubicBezTo>
                <a:cubicBezTo>
                  <a:pt x="313531" y="244475"/>
                  <a:pt x="354807" y="250032"/>
                  <a:pt x="385763" y="252413"/>
                </a:cubicBezTo>
                <a:cubicBezTo>
                  <a:pt x="416719" y="254794"/>
                  <a:pt x="439738" y="260350"/>
                  <a:pt x="471488" y="261938"/>
                </a:cubicBezTo>
                <a:cubicBezTo>
                  <a:pt x="503238" y="263526"/>
                  <a:pt x="539751" y="269875"/>
                  <a:pt x="576263" y="261938"/>
                </a:cubicBezTo>
                <a:cubicBezTo>
                  <a:pt x="612775" y="254001"/>
                  <a:pt x="663576" y="230982"/>
                  <a:pt x="690563" y="214313"/>
                </a:cubicBezTo>
                <a:cubicBezTo>
                  <a:pt x="717551" y="197644"/>
                  <a:pt x="719138" y="173831"/>
                  <a:pt x="738188" y="161925"/>
                </a:cubicBezTo>
                <a:cubicBezTo>
                  <a:pt x="757238" y="150019"/>
                  <a:pt x="781844" y="146844"/>
                  <a:pt x="804863" y="142875"/>
                </a:cubicBezTo>
                <a:cubicBezTo>
                  <a:pt x="827882" y="138906"/>
                  <a:pt x="849313" y="144463"/>
                  <a:pt x="876300" y="138113"/>
                </a:cubicBezTo>
                <a:cubicBezTo>
                  <a:pt x="903287" y="131763"/>
                  <a:pt x="941388" y="117475"/>
                  <a:pt x="966788" y="104775"/>
                </a:cubicBezTo>
                <a:cubicBezTo>
                  <a:pt x="992188" y="92075"/>
                  <a:pt x="1008063" y="75407"/>
                  <a:pt x="1028700" y="61913"/>
                </a:cubicBezTo>
                <a:cubicBezTo>
                  <a:pt x="1049337" y="48419"/>
                  <a:pt x="1076326" y="34132"/>
                  <a:pt x="1090613" y="23813"/>
                </a:cubicBezTo>
                <a:cubicBezTo>
                  <a:pt x="1104900" y="13494"/>
                  <a:pt x="1109662" y="6747"/>
                  <a:pt x="1114425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08" name="Полилиния 207"/>
          <p:cNvSpPr/>
          <p:nvPr/>
        </p:nvSpPr>
        <p:spPr>
          <a:xfrm>
            <a:off x="6707761" y="1814454"/>
            <a:ext cx="1250190" cy="1091823"/>
          </a:xfrm>
          <a:custGeom>
            <a:avLst/>
            <a:gdLst>
              <a:gd name="connsiteX0" fmla="*/ 0 w 1181100"/>
              <a:gd name="connsiteY0" fmla="*/ 0 h 1104900"/>
              <a:gd name="connsiteX1" fmla="*/ 19050 w 1181100"/>
              <a:gd name="connsiteY1" fmla="*/ 47625 h 1104900"/>
              <a:gd name="connsiteX2" fmla="*/ 80963 w 1181100"/>
              <a:gd name="connsiteY2" fmla="*/ 100013 h 1104900"/>
              <a:gd name="connsiteX3" fmla="*/ 133350 w 1181100"/>
              <a:gd name="connsiteY3" fmla="*/ 119063 h 1104900"/>
              <a:gd name="connsiteX4" fmla="*/ 166688 w 1181100"/>
              <a:gd name="connsiteY4" fmla="*/ 190500 h 1104900"/>
              <a:gd name="connsiteX5" fmla="*/ 200025 w 1181100"/>
              <a:gd name="connsiteY5" fmla="*/ 342900 h 1104900"/>
              <a:gd name="connsiteX6" fmla="*/ 247650 w 1181100"/>
              <a:gd name="connsiteY6" fmla="*/ 404813 h 1104900"/>
              <a:gd name="connsiteX7" fmla="*/ 285750 w 1181100"/>
              <a:gd name="connsiteY7" fmla="*/ 447675 h 1104900"/>
              <a:gd name="connsiteX8" fmla="*/ 319088 w 1181100"/>
              <a:gd name="connsiteY8" fmla="*/ 552450 h 1104900"/>
              <a:gd name="connsiteX9" fmla="*/ 361950 w 1181100"/>
              <a:gd name="connsiteY9" fmla="*/ 642938 h 1104900"/>
              <a:gd name="connsiteX10" fmla="*/ 433388 w 1181100"/>
              <a:gd name="connsiteY10" fmla="*/ 671513 h 1104900"/>
              <a:gd name="connsiteX11" fmla="*/ 552450 w 1181100"/>
              <a:gd name="connsiteY11" fmla="*/ 700088 h 1104900"/>
              <a:gd name="connsiteX12" fmla="*/ 661988 w 1181100"/>
              <a:gd name="connsiteY12" fmla="*/ 728663 h 1104900"/>
              <a:gd name="connsiteX13" fmla="*/ 757238 w 1181100"/>
              <a:gd name="connsiteY13" fmla="*/ 776288 h 1104900"/>
              <a:gd name="connsiteX14" fmla="*/ 833438 w 1181100"/>
              <a:gd name="connsiteY14" fmla="*/ 828675 h 1104900"/>
              <a:gd name="connsiteX15" fmla="*/ 895350 w 1181100"/>
              <a:gd name="connsiteY15" fmla="*/ 928688 h 1104900"/>
              <a:gd name="connsiteX16" fmla="*/ 966788 w 1181100"/>
              <a:gd name="connsiteY16" fmla="*/ 995363 h 1104900"/>
              <a:gd name="connsiteX17" fmla="*/ 1023938 w 1181100"/>
              <a:gd name="connsiteY17" fmla="*/ 1033463 h 1104900"/>
              <a:gd name="connsiteX18" fmla="*/ 1085850 w 1181100"/>
              <a:gd name="connsiteY18" fmla="*/ 1071563 h 1104900"/>
              <a:gd name="connsiteX19" fmla="*/ 1181100 w 1181100"/>
              <a:gd name="connsiteY19" fmla="*/ 110490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81100" h="1104900">
                <a:moveTo>
                  <a:pt x="0" y="0"/>
                </a:moveTo>
                <a:cubicBezTo>
                  <a:pt x="2778" y="15478"/>
                  <a:pt x="5556" y="30956"/>
                  <a:pt x="19050" y="47625"/>
                </a:cubicBezTo>
                <a:cubicBezTo>
                  <a:pt x="32544" y="64294"/>
                  <a:pt x="61913" y="88107"/>
                  <a:pt x="80963" y="100013"/>
                </a:cubicBezTo>
                <a:cubicBezTo>
                  <a:pt x="100013" y="111919"/>
                  <a:pt x="119063" y="103982"/>
                  <a:pt x="133350" y="119063"/>
                </a:cubicBezTo>
                <a:cubicBezTo>
                  <a:pt x="147638" y="134144"/>
                  <a:pt x="155576" y="153194"/>
                  <a:pt x="166688" y="190500"/>
                </a:cubicBezTo>
                <a:cubicBezTo>
                  <a:pt x="177800" y="227806"/>
                  <a:pt x="186531" y="307181"/>
                  <a:pt x="200025" y="342900"/>
                </a:cubicBezTo>
                <a:cubicBezTo>
                  <a:pt x="213519" y="378619"/>
                  <a:pt x="233363" y="387351"/>
                  <a:pt x="247650" y="404813"/>
                </a:cubicBezTo>
                <a:cubicBezTo>
                  <a:pt x="261937" y="422275"/>
                  <a:pt x="273844" y="423069"/>
                  <a:pt x="285750" y="447675"/>
                </a:cubicBezTo>
                <a:cubicBezTo>
                  <a:pt x="297656" y="472281"/>
                  <a:pt x="306388" y="519906"/>
                  <a:pt x="319088" y="552450"/>
                </a:cubicBezTo>
                <a:cubicBezTo>
                  <a:pt x="331788" y="584994"/>
                  <a:pt x="342900" y="623094"/>
                  <a:pt x="361950" y="642938"/>
                </a:cubicBezTo>
                <a:cubicBezTo>
                  <a:pt x="381000" y="662782"/>
                  <a:pt x="401638" y="661988"/>
                  <a:pt x="433388" y="671513"/>
                </a:cubicBezTo>
                <a:cubicBezTo>
                  <a:pt x="465138" y="681038"/>
                  <a:pt x="514350" y="690563"/>
                  <a:pt x="552450" y="700088"/>
                </a:cubicBezTo>
                <a:cubicBezTo>
                  <a:pt x="590550" y="709613"/>
                  <a:pt x="627857" y="715963"/>
                  <a:pt x="661988" y="728663"/>
                </a:cubicBezTo>
                <a:cubicBezTo>
                  <a:pt x="696119" y="741363"/>
                  <a:pt x="728663" y="759619"/>
                  <a:pt x="757238" y="776288"/>
                </a:cubicBezTo>
                <a:cubicBezTo>
                  <a:pt x="785813" y="792957"/>
                  <a:pt x="810419" y="803275"/>
                  <a:pt x="833438" y="828675"/>
                </a:cubicBezTo>
                <a:cubicBezTo>
                  <a:pt x="856457" y="854075"/>
                  <a:pt x="873125" y="900907"/>
                  <a:pt x="895350" y="928688"/>
                </a:cubicBezTo>
                <a:cubicBezTo>
                  <a:pt x="917575" y="956469"/>
                  <a:pt x="945357" y="977901"/>
                  <a:pt x="966788" y="995363"/>
                </a:cubicBezTo>
                <a:cubicBezTo>
                  <a:pt x="988219" y="1012825"/>
                  <a:pt x="1004094" y="1020763"/>
                  <a:pt x="1023938" y="1033463"/>
                </a:cubicBezTo>
                <a:cubicBezTo>
                  <a:pt x="1043782" y="1046163"/>
                  <a:pt x="1059656" y="1059657"/>
                  <a:pt x="1085850" y="1071563"/>
                </a:cubicBezTo>
                <a:cubicBezTo>
                  <a:pt x="1112044" y="1083469"/>
                  <a:pt x="1146572" y="1094184"/>
                  <a:pt x="1181100" y="110490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09" name="Полилиния 208"/>
          <p:cNvSpPr/>
          <p:nvPr/>
        </p:nvSpPr>
        <p:spPr>
          <a:xfrm>
            <a:off x="8008363" y="2666265"/>
            <a:ext cx="181479" cy="250994"/>
          </a:xfrm>
          <a:custGeom>
            <a:avLst/>
            <a:gdLst>
              <a:gd name="connsiteX0" fmla="*/ 171450 w 171450"/>
              <a:gd name="connsiteY0" fmla="*/ 0 h 254000"/>
              <a:gd name="connsiteX1" fmla="*/ 100013 w 171450"/>
              <a:gd name="connsiteY1" fmla="*/ 85725 h 254000"/>
              <a:gd name="connsiteX2" fmla="*/ 76200 w 171450"/>
              <a:gd name="connsiteY2" fmla="*/ 147637 h 254000"/>
              <a:gd name="connsiteX3" fmla="*/ 80963 w 171450"/>
              <a:gd name="connsiteY3" fmla="*/ 185737 h 254000"/>
              <a:gd name="connsiteX4" fmla="*/ 38100 w 171450"/>
              <a:gd name="connsiteY4" fmla="*/ 242887 h 254000"/>
              <a:gd name="connsiteX5" fmla="*/ 0 w 171450"/>
              <a:gd name="connsiteY5" fmla="*/ 252412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1450" h="254000">
                <a:moveTo>
                  <a:pt x="171450" y="0"/>
                </a:moveTo>
                <a:cubicBezTo>
                  <a:pt x="143669" y="30559"/>
                  <a:pt x="115888" y="61119"/>
                  <a:pt x="100013" y="85725"/>
                </a:cubicBezTo>
                <a:cubicBezTo>
                  <a:pt x="84138" y="110331"/>
                  <a:pt x="79375" y="130968"/>
                  <a:pt x="76200" y="147637"/>
                </a:cubicBezTo>
                <a:cubicBezTo>
                  <a:pt x="73025" y="164306"/>
                  <a:pt x="87313" y="169862"/>
                  <a:pt x="80963" y="185737"/>
                </a:cubicBezTo>
                <a:cubicBezTo>
                  <a:pt x="74613" y="201612"/>
                  <a:pt x="51594" y="231775"/>
                  <a:pt x="38100" y="242887"/>
                </a:cubicBezTo>
                <a:cubicBezTo>
                  <a:pt x="24606" y="254000"/>
                  <a:pt x="12303" y="253206"/>
                  <a:pt x="0" y="252412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0" name="Полилиния 209"/>
          <p:cNvSpPr/>
          <p:nvPr/>
        </p:nvSpPr>
        <p:spPr>
          <a:xfrm>
            <a:off x="7993240" y="2633321"/>
            <a:ext cx="161315" cy="244719"/>
          </a:xfrm>
          <a:custGeom>
            <a:avLst/>
            <a:gdLst>
              <a:gd name="connsiteX0" fmla="*/ 152400 w 152400"/>
              <a:gd name="connsiteY0" fmla="*/ 0 h 247650"/>
              <a:gd name="connsiteX1" fmla="*/ 100012 w 152400"/>
              <a:gd name="connsiteY1" fmla="*/ 66675 h 247650"/>
              <a:gd name="connsiteX2" fmla="*/ 57150 w 152400"/>
              <a:gd name="connsiteY2" fmla="*/ 152400 h 247650"/>
              <a:gd name="connsiteX3" fmla="*/ 47625 w 152400"/>
              <a:gd name="connsiteY3" fmla="*/ 209550 h 247650"/>
              <a:gd name="connsiteX4" fmla="*/ 28575 w 152400"/>
              <a:gd name="connsiteY4" fmla="*/ 238125 h 247650"/>
              <a:gd name="connsiteX5" fmla="*/ 0 w 152400"/>
              <a:gd name="connsiteY5" fmla="*/ 247650 h 247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400" h="247650">
                <a:moveTo>
                  <a:pt x="152400" y="0"/>
                </a:moveTo>
                <a:cubicBezTo>
                  <a:pt x="134143" y="20637"/>
                  <a:pt x="115887" y="41275"/>
                  <a:pt x="100012" y="66675"/>
                </a:cubicBezTo>
                <a:cubicBezTo>
                  <a:pt x="84137" y="92075"/>
                  <a:pt x="65881" y="128588"/>
                  <a:pt x="57150" y="152400"/>
                </a:cubicBezTo>
                <a:cubicBezTo>
                  <a:pt x="48419" y="176212"/>
                  <a:pt x="52388" y="195262"/>
                  <a:pt x="47625" y="209550"/>
                </a:cubicBezTo>
                <a:cubicBezTo>
                  <a:pt x="42862" y="223838"/>
                  <a:pt x="36512" y="231775"/>
                  <a:pt x="28575" y="238125"/>
                </a:cubicBezTo>
                <a:cubicBezTo>
                  <a:pt x="20638" y="244475"/>
                  <a:pt x="10319" y="246062"/>
                  <a:pt x="0" y="2476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1" name="Полилиния 210"/>
          <p:cNvSpPr/>
          <p:nvPr/>
        </p:nvSpPr>
        <p:spPr>
          <a:xfrm>
            <a:off x="8023486" y="2680382"/>
            <a:ext cx="216766" cy="282368"/>
          </a:xfrm>
          <a:custGeom>
            <a:avLst/>
            <a:gdLst>
              <a:gd name="connsiteX0" fmla="*/ 204787 w 204787"/>
              <a:gd name="connsiteY0" fmla="*/ 0 h 285750"/>
              <a:gd name="connsiteX1" fmla="*/ 147637 w 204787"/>
              <a:gd name="connsiteY1" fmla="*/ 52388 h 285750"/>
              <a:gd name="connsiteX2" fmla="*/ 100012 w 204787"/>
              <a:gd name="connsiteY2" fmla="*/ 123825 h 285750"/>
              <a:gd name="connsiteX3" fmla="*/ 104775 w 204787"/>
              <a:gd name="connsiteY3" fmla="*/ 161925 h 285750"/>
              <a:gd name="connsiteX4" fmla="*/ 95250 w 204787"/>
              <a:gd name="connsiteY4" fmla="*/ 223838 h 285750"/>
              <a:gd name="connsiteX5" fmla="*/ 52387 w 204787"/>
              <a:gd name="connsiteY5" fmla="*/ 266700 h 285750"/>
              <a:gd name="connsiteX6" fmla="*/ 0 w 204787"/>
              <a:gd name="connsiteY6" fmla="*/ 285750 h 28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787" h="285750">
                <a:moveTo>
                  <a:pt x="204787" y="0"/>
                </a:moveTo>
                <a:cubicBezTo>
                  <a:pt x="184943" y="15875"/>
                  <a:pt x="165099" y="31751"/>
                  <a:pt x="147637" y="52388"/>
                </a:cubicBezTo>
                <a:cubicBezTo>
                  <a:pt x="130175" y="73025"/>
                  <a:pt x="107156" y="105569"/>
                  <a:pt x="100012" y="123825"/>
                </a:cubicBezTo>
                <a:cubicBezTo>
                  <a:pt x="92868" y="142081"/>
                  <a:pt x="105569" y="145256"/>
                  <a:pt x="104775" y="161925"/>
                </a:cubicBezTo>
                <a:cubicBezTo>
                  <a:pt x="103981" y="178594"/>
                  <a:pt x="103981" y="206376"/>
                  <a:pt x="95250" y="223838"/>
                </a:cubicBezTo>
                <a:cubicBezTo>
                  <a:pt x="86519" y="241300"/>
                  <a:pt x="68262" y="256381"/>
                  <a:pt x="52387" y="266700"/>
                </a:cubicBezTo>
                <a:cubicBezTo>
                  <a:pt x="36512" y="277019"/>
                  <a:pt x="18256" y="281384"/>
                  <a:pt x="0" y="28575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2" name="AutoShape 20"/>
          <p:cNvSpPr>
            <a:spLocks noChangeArrowheads="1"/>
          </p:cNvSpPr>
          <p:nvPr/>
        </p:nvSpPr>
        <p:spPr bwMode="auto">
          <a:xfrm>
            <a:off x="6576710" y="1737993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13" name="AutoShape 20"/>
          <p:cNvSpPr>
            <a:spLocks noChangeArrowheads="1"/>
          </p:cNvSpPr>
          <p:nvPr/>
        </p:nvSpPr>
        <p:spPr bwMode="auto">
          <a:xfrm>
            <a:off x="7253464" y="2434505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14" name="Полилиния 213"/>
          <p:cNvSpPr/>
          <p:nvPr/>
        </p:nvSpPr>
        <p:spPr>
          <a:xfrm>
            <a:off x="1059836" y="2386295"/>
            <a:ext cx="4218538" cy="2668111"/>
          </a:xfrm>
          <a:custGeom>
            <a:avLst/>
            <a:gdLst>
              <a:gd name="connsiteX0" fmla="*/ 3985404 w 3985404"/>
              <a:gd name="connsiteY0" fmla="*/ 0 h 2700067"/>
              <a:gd name="connsiteX1" fmla="*/ 3838755 w 3985404"/>
              <a:gd name="connsiteY1" fmla="*/ 17253 h 2700067"/>
              <a:gd name="connsiteX2" fmla="*/ 3743864 w 3985404"/>
              <a:gd name="connsiteY2" fmla="*/ 86264 h 2700067"/>
              <a:gd name="connsiteX3" fmla="*/ 3657600 w 3985404"/>
              <a:gd name="connsiteY3" fmla="*/ 138022 h 2700067"/>
              <a:gd name="connsiteX4" fmla="*/ 3424687 w 3985404"/>
              <a:gd name="connsiteY4" fmla="*/ 198407 h 2700067"/>
              <a:gd name="connsiteX5" fmla="*/ 3200400 w 3985404"/>
              <a:gd name="connsiteY5" fmla="*/ 284671 h 2700067"/>
              <a:gd name="connsiteX6" fmla="*/ 3096883 w 3985404"/>
              <a:gd name="connsiteY6" fmla="*/ 353683 h 2700067"/>
              <a:gd name="connsiteX7" fmla="*/ 3027872 w 3985404"/>
              <a:gd name="connsiteY7" fmla="*/ 457200 h 2700067"/>
              <a:gd name="connsiteX8" fmla="*/ 2915728 w 3985404"/>
              <a:gd name="connsiteY8" fmla="*/ 500332 h 2700067"/>
              <a:gd name="connsiteX9" fmla="*/ 2751826 w 3985404"/>
              <a:gd name="connsiteY9" fmla="*/ 569343 h 2700067"/>
              <a:gd name="connsiteX10" fmla="*/ 2622430 w 3985404"/>
              <a:gd name="connsiteY10" fmla="*/ 664234 h 2700067"/>
              <a:gd name="connsiteX11" fmla="*/ 2527539 w 3985404"/>
              <a:gd name="connsiteY11" fmla="*/ 724619 h 2700067"/>
              <a:gd name="connsiteX12" fmla="*/ 2389517 w 3985404"/>
              <a:gd name="connsiteY12" fmla="*/ 759124 h 2700067"/>
              <a:gd name="connsiteX13" fmla="*/ 2104845 w 3985404"/>
              <a:gd name="connsiteY13" fmla="*/ 828136 h 2700067"/>
              <a:gd name="connsiteX14" fmla="*/ 1906438 w 3985404"/>
              <a:gd name="connsiteY14" fmla="*/ 897147 h 2700067"/>
              <a:gd name="connsiteX15" fmla="*/ 1733909 w 3985404"/>
              <a:gd name="connsiteY15" fmla="*/ 974785 h 2700067"/>
              <a:gd name="connsiteX16" fmla="*/ 1544128 w 3985404"/>
              <a:gd name="connsiteY16" fmla="*/ 1078302 h 2700067"/>
              <a:gd name="connsiteX17" fmla="*/ 1328468 w 3985404"/>
              <a:gd name="connsiteY17" fmla="*/ 1224951 h 2700067"/>
              <a:gd name="connsiteX18" fmla="*/ 1199072 w 3985404"/>
              <a:gd name="connsiteY18" fmla="*/ 1345720 h 2700067"/>
              <a:gd name="connsiteX19" fmla="*/ 1061049 w 3985404"/>
              <a:gd name="connsiteY19" fmla="*/ 1578634 h 2700067"/>
              <a:gd name="connsiteX20" fmla="*/ 879894 w 3985404"/>
              <a:gd name="connsiteY20" fmla="*/ 1854679 h 2700067"/>
              <a:gd name="connsiteX21" fmla="*/ 810883 w 3985404"/>
              <a:gd name="connsiteY21" fmla="*/ 1984075 h 2700067"/>
              <a:gd name="connsiteX22" fmla="*/ 733245 w 3985404"/>
              <a:gd name="connsiteY22" fmla="*/ 2130724 h 2700067"/>
              <a:gd name="connsiteX23" fmla="*/ 646981 w 3985404"/>
              <a:gd name="connsiteY23" fmla="*/ 2286000 h 2700067"/>
              <a:gd name="connsiteX24" fmla="*/ 543464 w 3985404"/>
              <a:gd name="connsiteY24" fmla="*/ 2406769 h 2700067"/>
              <a:gd name="connsiteX25" fmla="*/ 388189 w 3985404"/>
              <a:gd name="connsiteY25" fmla="*/ 2406769 h 2700067"/>
              <a:gd name="connsiteX26" fmla="*/ 276045 w 3985404"/>
              <a:gd name="connsiteY26" fmla="*/ 2380890 h 2700067"/>
              <a:gd name="connsiteX27" fmla="*/ 232913 w 3985404"/>
              <a:gd name="connsiteY27" fmla="*/ 2449902 h 2700067"/>
              <a:gd name="connsiteX28" fmla="*/ 250166 w 3985404"/>
              <a:gd name="connsiteY28" fmla="*/ 2587924 h 2700067"/>
              <a:gd name="connsiteX29" fmla="*/ 250166 w 3985404"/>
              <a:gd name="connsiteY29" fmla="*/ 2691441 h 2700067"/>
              <a:gd name="connsiteX30" fmla="*/ 103517 w 3985404"/>
              <a:gd name="connsiteY30" fmla="*/ 2639683 h 2700067"/>
              <a:gd name="connsiteX31" fmla="*/ 0 w 3985404"/>
              <a:gd name="connsiteY31" fmla="*/ 2613803 h 270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985404" h="2700067">
                <a:moveTo>
                  <a:pt x="3985404" y="0"/>
                </a:moveTo>
                <a:cubicBezTo>
                  <a:pt x="3932208" y="1438"/>
                  <a:pt x="3879012" y="2876"/>
                  <a:pt x="3838755" y="17253"/>
                </a:cubicBezTo>
                <a:cubicBezTo>
                  <a:pt x="3798498" y="31630"/>
                  <a:pt x="3774057" y="66136"/>
                  <a:pt x="3743864" y="86264"/>
                </a:cubicBezTo>
                <a:cubicBezTo>
                  <a:pt x="3713672" y="106392"/>
                  <a:pt x="3710796" y="119332"/>
                  <a:pt x="3657600" y="138022"/>
                </a:cubicBezTo>
                <a:cubicBezTo>
                  <a:pt x="3604404" y="156712"/>
                  <a:pt x="3500887" y="173966"/>
                  <a:pt x="3424687" y="198407"/>
                </a:cubicBezTo>
                <a:cubicBezTo>
                  <a:pt x="3348487" y="222848"/>
                  <a:pt x="3255034" y="258792"/>
                  <a:pt x="3200400" y="284671"/>
                </a:cubicBezTo>
                <a:cubicBezTo>
                  <a:pt x="3145766" y="310550"/>
                  <a:pt x="3125638" y="324928"/>
                  <a:pt x="3096883" y="353683"/>
                </a:cubicBezTo>
                <a:cubicBezTo>
                  <a:pt x="3068128" y="382438"/>
                  <a:pt x="3058064" y="432759"/>
                  <a:pt x="3027872" y="457200"/>
                </a:cubicBezTo>
                <a:cubicBezTo>
                  <a:pt x="2997680" y="481641"/>
                  <a:pt x="2961735" y="481642"/>
                  <a:pt x="2915728" y="500332"/>
                </a:cubicBezTo>
                <a:cubicBezTo>
                  <a:pt x="2869721" y="519022"/>
                  <a:pt x="2800709" y="542026"/>
                  <a:pt x="2751826" y="569343"/>
                </a:cubicBezTo>
                <a:cubicBezTo>
                  <a:pt x="2702943" y="596660"/>
                  <a:pt x="2659811" y="638355"/>
                  <a:pt x="2622430" y="664234"/>
                </a:cubicBezTo>
                <a:cubicBezTo>
                  <a:pt x="2585049" y="690113"/>
                  <a:pt x="2566358" y="708804"/>
                  <a:pt x="2527539" y="724619"/>
                </a:cubicBezTo>
                <a:cubicBezTo>
                  <a:pt x="2488720" y="740434"/>
                  <a:pt x="2389517" y="759124"/>
                  <a:pt x="2389517" y="759124"/>
                </a:cubicBezTo>
                <a:cubicBezTo>
                  <a:pt x="2319068" y="776377"/>
                  <a:pt x="2185358" y="805132"/>
                  <a:pt x="2104845" y="828136"/>
                </a:cubicBezTo>
                <a:cubicBezTo>
                  <a:pt x="2024332" y="851140"/>
                  <a:pt x="1968261" y="872706"/>
                  <a:pt x="1906438" y="897147"/>
                </a:cubicBezTo>
                <a:cubicBezTo>
                  <a:pt x="1844615" y="921588"/>
                  <a:pt x="1794294" y="944593"/>
                  <a:pt x="1733909" y="974785"/>
                </a:cubicBezTo>
                <a:cubicBezTo>
                  <a:pt x="1673524" y="1004977"/>
                  <a:pt x="1611701" y="1036608"/>
                  <a:pt x="1544128" y="1078302"/>
                </a:cubicBezTo>
                <a:cubicBezTo>
                  <a:pt x="1476555" y="1119996"/>
                  <a:pt x="1385977" y="1180381"/>
                  <a:pt x="1328468" y="1224951"/>
                </a:cubicBezTo>
                <a:cubicBezTo>
                  <a:pt x="1270959" y="1269521"/>
                  <a:pt x="1243642" y="1286773"/>
                  <a:pt x="1199072" y="1345720"/>
                </a:cubicBezTo>
                <a:cubicBezTo>
                  <a:pt x="1154502" y="1404667"/>
                  <a:pt x="1114245" y="1493808"/>
                  <a:pt x="1061049" y="1578634"/>
                </a:cubicBezTo>
                <a:cubicBezTo>
                  <a:pt x="1007853" y="1663460"/>
                  <a:pt x="921588" y="1787106"/>
                  <a:pt x="879894" y="1854679"/>
                </a:cubicBezTo>
                <a:cubicBezTo>
                  <a:pt x="838200" y="1922252"/>
                  <a:pt x="810883" y="1984075"/>
                  <a:pt x="810883" y="1984075"/>
                </a:cubicBezTo>
                <a:cubicBezTo>
                  <a:pt x="786442" y="2030082"/>
                  <a:pt x="760562" y="2080403"/>
                  <a:pt x="733245" y="2130724"/>
                </a:cubicBezTo>
                <a:cubicBezTo>
                  <a:pt x="705928" y="2181045"/>
                  <a:pt x="678611" y="2239993"/>
                  <a:pt x="646981" y="2286000"/>
                </a:cubicBezTo>
                <a:cubicBezTo>
                  <a:pt x="615351" y="2332007"/>
                  <a:pt x="586596" y="2386641"/>
                  <a:pt x="543464" y="2406769"/>
                </a:cubicBezTo>
                <a:cubicBezTo>
                  <a:pt x="500332" y="2426897"/>
                  <a:pt x="432759" y="2411082"/>
                  <a:pt x="388189" y="2406769"/>
                </a:cubicBezTo>
                <a:cubicBezTo>
                  <a:pt x="343619" y="2402456"/>
                  <a:pt x="301924" y="2373701"/>
                  <a:pt x="276045" y="2380890"/>
                </a:cubicBezTo>
                <a:cubicBezTo>
                  <a:pt x="250166" y="2388079"/>
                  <a:pt x="237226" y="2415396"/>
                  <a:pt x="232913" y="2449902"/>
                </a:cubicBezTo>
                <a:cubicBezTo>
                  <a:pt x="228600" y="2484408"/>
                  <a:pt x="247291" y="2547668"/>
                  <a:pt x="250166" y="2587924"/>
                </a:cubicBezTo>
                <a:cubicBezTo>
                  <a:pt x="253042" y="2628181"/>
                  <a:pt x="274607" y="2682815"/>
                  <a:pt x="250166" y="2691441"/>
                </a:cubicBezTo>
                <a:cubicBezTo>
                  <a:pt x="225725" y="2700067"/>
                  <a:pt x="145211" y="2652623"/>
                  <a:pt x="103517" y="2639683"/>
                </a:cubicBezTo>
                <a:cubicBezTo>
                  <a:pt x="61823" y="2626743"/>
                  <a:pt x="30911" y="2620273"/>
                  <a:pt x="0" y="261380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5" name="Полилиния 214"/>
          <p:cNvSpPr/>
          <p:nvPr/>
        </p:nvSpPr>
        <p:spPr>
          <a:xfrm>
            <a:off x="6658374" y="4807571"/>
            <a:ext cx="0" cy="225895"/>
          </a:xfrm>
          <a:custGeom>
            <a:avLst/>
            <a:gdLst>
              <a:gd name="connsiteX0" fmla="*/ 0 w 0"/>
              <a:gd name="connsiteY0" fmla="*/ 0 h 228600"/>
              <a:gd name="connsiteX1" fmla="*/ 0 w 0"/>
              <a:gd name="connsiteY1" fmla="*/ 22860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8600">
                <a:moveTo>
                  <a:pt x="0" y="0"/>
                </a:moveTo>
                <a:lnTo>
                  <a:pt x="0" y="228600"/>
                </a:lnTo>
              </a:path>
            </a:pathLst>
          </a:custGeom>
          <a:ln w="152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Полилиния 215"/>
          <p:cNvSpPr/>
          <p:nvPr/>
        </p:nvSpPr>
        <p:spPr>
          <a:xfrm>
            <a:off x="5487823" y="2440370"/>
            <a:ext cx="1214903" cy="2564843"/>
          </a:xfrm>
          <a:custGeom>
            <a:avLst/>
            <a:gdLst>
              <a:gd name="connsiteX0" fmla="*/ 0 w 1147763"/>
              <a:gd name="connsiteY0" fmla="*/ 0 h 2595562"/>
              <a:gd name="connsiteX1" fmla="*/ 57150 w 1147763"/>
              <a:gd name="connsiteY1" fmla="*/ 90487 h 2595562"/>
              <a:gd name="connsiteX2" fmla="*/ 142875 w 1147763"/>
              <a:gd name="connsiteY2" fmla="*/ 166687 h 2595562"/>
              <a:gd name="connsiteX3" fmla="*/ 228600 w 1147763"/>
              <a:gd name="connsiteY3" fmla="*/ 228600 h 2595562"/>
              <a:gd name="connsiteX4" fmla="*/ 276225 w 1147763"/>
              <a:gd name="connsiteY4" fmla="*/ 280987 h 2595562"/>
              <a:gd name="connsiteX5" fmla="*/ 300037 w 1147763"/>
              <a:gd name="connsiteY5" fmla="*/ 352425 h 2595562"/>
              <a:gd name="connsiteX6" fmla="*/ 319087 w 1147763"/>
              <a:gd name="connsiteY6" fmla="*/ 452437 h 2595562"/>
              <a:gd name="connsiteX7" fmla="*/ 404812 w 1147763"/>
              <a:gd name="connsiteY7" fmla="*/ 547687 h 2595562"/>
              <a:gd name="connsiteX8" fmla="*/ 466725 w 1147763"/>
              <a:gd name="connsiteY8" fmla="*/ 595312 h 2595562"/>
              <a:gd name="connsiteX9" fmla="*/ 471487 w 1147763"/>
              <a:gd name="connsiteY9" fmla="*/ 676275 h 2595562"/>
              <a:gd name="connsiteX10" fmla="*/ 466725 w 1147763"/>
              <a:gd name="connsiteY10" fmla="*/ 766762 h 2595562"/>
              <a:gd name="connsiteX11" fmla="*/ 519112 w 1147763"/>
              <a:gd name="connsiteY11" fmla="*/ 871537 h 2595562"/>
              <a:gd name="connsiteX12" fmla="*/ 566737 w 1147763"/>
              <a:gd name="connsiteY12" fmla="*/ 933450 h 2595562"/>
              <a:gd name="connsiteX13" fmla="*/ 604837 w 1147763"/>
              <a:gd name="connsiteY13" fmla="*/ 976312 h 2595562"/>
              <a:gd name="connsiteX14" fmla="*/ 628650 w 1147763"/>
              <a:gd name="connsiteY14" fmla="*/ 1057275 h 2595562"/>
              <a:gd name="connsiteX15" fmla="*/ 666750 w 1147763"/>
              <a:gd name="connsiteY15" fmla="*/ 1090612 h 2595562"/>
              <a:gd name="connsiteX16" fmla="*/ 690562 w 1147763"/>
              <a:gd name="connsiteY16" fmla="*/ 1147762 h 2595562"/>
              <a:gd name="connsiteX17" fmla="*/ 700087 w 1147763"/>
              <a:gd name="connsiteY17" fmla="*/ 1238250 h 2595562"/>
              <a:gd name="connsiteX18" fmla="*/ 785812 w 1147763"/>
              <a:gd name="connsiteY18" fmla="*/ 1262062 h 2595562"/>
              <a:gd name="connsiteX19" fmla="*/ 947737 w 1147763"/>
              <a:gd name="connsiteY19" fmla="*/ 1371600 h 2595562"/>
              <a:gd name="connsiteX20" fmla="*/ 1038225 w 1147763"/>
              <a:gd name="connsiteY20" fmla="*/ 1509712 h 2595562"/>
              <a:gd name="connsiteX21" fmla="*/ 1038225 w 1147763"/>
              <a:gd name="connsiteY21" fmla="*/ 1638300 h 2595562"/>
              <a:gd name="connsiteX22" fmla="*/ 971550 w 1147763"/>
              <a:gd name="connsiteY22" fmla="*/ 1685925 h 2595562"/>
              <a:gd name="connsiteX23" fmla="*/ 919162 w 1147763"/>
              <a:gd name="connsiteY23" fmla="*/ 1704975 h 2595562"/>
              <a:gd name="connsiteX24" fmla="*/ 847725 w 1147763"/>
              <a:gd name="connsiteY24" fmla="*/ 1781175 h 2595562"/>
              <a:gd name="connsiteX25" fmla="*/ 714375 w 1147763"/>
              <a:gd name="connsiteY25" fmla="*/ 1852612 h 2595562"/>
              <a:gd name="connsiteX26" fmla="*/ 642937 w 1147763"/>
              <a:gd name="connsiteY26" fmla="*/ 1857375 h 2595562"/>
              <a:gd name="connsiteX27" fmla="*/ 595312 w 1147763"/>
              <a:gd name="connsiteY27" fmla="*/ 1890712 h 2595562"/>
              <a:gd name="connsiteX28" fmla="*/ 590550 w 1147763"/>
              <a:gd name="connsiteY28" fmla="*/ 1943100 h 2595562"/>
              <a:gd name="connsiteX29" fmla="*/ 552450 w 1147763"/>
              <a:gd name="connsiteY29" fmla="*/ 2014537 h 2595562"/>
              <a:gd name="connsiteX30" fmla="*/ 604837 w 1147763"/>
              <a:gd name="connsiteY30" fmla="*/ 2090737 h 2595562"/>
              <a:gd name="connsiteX31" fmla="*/ 685800 w 1147763"/>
              <a:gd name="connsiteY31" fmla="*/ 2152650 h 2595562"/>
              <a:gd name="connsiteX32" fmla="*/ 747712 w 1147763"/>
              <a:gd name="connsiteY32" fmla="*/ 2181225 h 2595562"/>
              <a:gd name="connsiteX33" fmla="*/ 819150 w 1147763"/>
              <a:gd name="connsiteY33" fmla="*/ 2276475 h 2595562"/>
              <a:gd name="connsiteX34" fmla="*/ 919162 w 1147763"/>
              <a:gd name="connsiteY34" fmla="*/ 2324100 h 2595562"/>
              <a:gd name="connsiteX35" fmla="*/ 971550 w 1147763"/>
              <a:gd name="connsiteY35" fmla="*/ 2324100 h 2595562"/>
              <a:gd name="connsiteX36" fmla="*/ 1028700 w 1147763"/>
              <a:gd name="connsiteY36" fmla="*/ 2328862 h 2595562"/>
              <a:gd name="connsiteX37" fmla="*/ 1119187 w 1147763"/>
              <a:gd name="connsiteY37" fmla="*/ 2376487 h 2595562"/>
              <a:gd name="connsiteX38" fmla="*/ 1143000 w 1147763"/>
              <a:gd name="connsiteY38" fmla="*/ 2462212 h 2595562"/>
              <a:gd name="connsiteX39" fmla="*/ 1147762 w 1147763"/>
              <a:gd name="connsiteY39" fmla="*/ 2595562 h 2595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147763" h="2595562">
                <a:moveTo>
                  <a:pt x="0" y="0"/>
                </a:moveTo>
                <a:cubicBezTo>
                  <a:pt x="16668" y="31353"/>
                  <a:pt x="33337" y="62706"/>
                  <a:pt x="57150" y="90487"/>
                </a:cubicBezTo>
                <a:cubicBezTo>
                  <a:pt x="80963" y="118268"/>
                  <a:pt x="114300" y="143668"/>
                  <a:pt x="142875" y="166687"/>
                </a:cubicBezTo>
                <a:cubicBezTo>
                  <a:pt x="171450" y="189706"/>
                  <a:pt x="206375" y="209550"/>
                  <a:pt x="228600" y="228600"/>
                </a:cubicBezTo>
                <a:cubicBezTo>
                  <a:pt x="250825" y="247650"/>
                  <a:pt x="264319" y="260349"/>
                  <a:pt x="276225" y="280987"/>
                </a:cubicBezTo>
                <a:cubicBezTo>
                  <a:pt x="288131" y="301625"/>
                  <a:pt x="292893" y="323850"/>
                  <a:pt x="300037" y="352425"/>
                </a:cubicBezTo>
                <a:cubicBezTo>
                  <a:pt x="307181" y="381000"/>
                  <a:pt x="301625" y="419893"/>
                  <a:pt x="319087" y="452437"/>
                </a:cubicBezTo>
                <a:cubicBezTo>
                  <a:pt x="336550" y="484981"/>
                  <a:pt x="380206" y="523875"/>
                  <a:pt x="404812" y="547687"/>
                </a:cubicBezTo>
                <a:cubicBezTo>
                  <a:pt x="429418" y="571499"/>
                  <a:pt x="455613" y="573881"/>
                  <a:pt x="466725" y="595312"/>
                </a:cubicBezTo>
                <a:cubicBezTo>
                  <a:pt x="477837" y="616743"/>
                  <a:pt x="471487" y="647700"/>
                  <a:pt x="471487" y="676275"/>
                </a:cubicBezTo>
                <a:cubicBezTo>
                  <a:pt x="471487" y="704850"/>
                  <a:pt x="458788" y="734218"/>
                  <a:pt x="466725" y="766762"/>
                </a:cubicBezTo>
                <a:cubicBezTo>
                  <a:pt x="474663" y="799306"/>
                  <a:pt x="502443" y="843756"/>
                  <a:pt x="519112" y="871537"/>
                </a:cubicBezTo>
                <a:cubicBezTo>
                  <a:pt x="535781" y="899318"/>
                  <a:pt x="552450" y="915988"/>
                  <a:pt x="566737" y="933450"/>
                </a:cubicBezTo>
                <a:cubicBezTo>
                  <a:pt x="581024" y="950912"/>
                  <a:pt x="594518" y="955675"/>
                  <a:pt x="604837" y="976312"/>
                </a:cubicBezTo>
                <a:cubicBezTo>
                  <a:pt x="615156" y="996950"/>
                  <a:pt x="618331" y="1038225"/>
                  <a:pt x="628650" y="1057275"/>
                </a:cubicBezTo>
                <a:cubicBezTo>
                  <a:pt x="638969" y="1076325"/>
                  <a:pt x="656431" y="1075531"/>
                  <a:pt x="666750" y="1090612"/>
                </a:cubicBezTo>
                <a:cubicBezTo>
                  <a:pt x="677069" y="1105693"/>
                  <a:pt x="685006" y="1123156"/>
                  <a:pt x="690562" y="1147762"/>
                </a:cubicBezTo>
                <a:cubicBezTo>
                  <a:pt x="696118" y="1172368"/>
                  <a:pt x="684212" y="1219200"/>
                  <a:pt x="700087" y="1238250"/>
                </a:cubicBezTo>
                <a:cubicBezTo>
                  <a:pt x="715962" y="1257300"/>
                  <a:pt x="744537" y="1239837"/>
                  <a:pt x="785812" y="1262062"/>
                </a:cubicBezTo>
                <a:cubicBezTo>
                  <a:pt x="827087" y="1284287"/>
                  <a:pt x="905668" y="1330325"/>
                  <a:pt x="947737" y="1371600"/>
                </a:cubicBezTo>
                <a:cubicBezTo>
                  <a:pt x="989806" y="1412875"/>
                  <a:pt x="1023144" y="1465262"/>
                  <a:pt x="1038225" y="1509712"/>
                </a:cubicBezTo>
                <a:cubicBezTo>
                  <a:pt x="1053306" y="1554162"/>
                  <a:pt x="1049337" y="1608931"/>
                  <a:pt x="1038225" y="1638300"/>
                </a:cubicBezTo>
                <a:cubicBezTo>
                  <a:pt x="1027113" y="1667669"/>
                  <a:pt x="991394" y="1674813"/>
                  <a:pt x="971550" y="1685925"/>
                </a:cubicBezTo>
                <a:cubicBezTo>
                  <a:pt x="951706" y="1697037"/>
                  <a:pt x="939800" y="1689100"/>
                  <a:pt x="919162" y="1704975"/>
                </a:cubicBezTo>
                <a:cubicBezTo>
                  <a:pt x="898525" y="1720850"/>
                  <a:pt x="881856" y="1756569"/>
                  <a:pt x="847725" y="1781175"/>
                </a:cubicBezTo>
                <a:cubicBezTo>
                  <a:pt x="813594" y="1805781"/>
                  <a:pt x="748506" y="1839912"/>
                  <a:pt x="714375" y="1852612"/>
                </a:cubicBezTo>
                <a:cubicBezTo>
                  <a:pt x="680244" y="1865312"/>
                  <a:pt x="662781" y="1851025"/>
                  <a:pt x="642937" y="1857375"/>
                </a:cubicBezTo>
                <a:cubicBezTo>
                  <a:pt x="623093" y="1863725"/>
                  <a:pt x="604043" y="1876425"/>
                  <a:pt x="595312" y="1890712"/>
                </a:cubicBezTo>
                <a:cubicBezTo>
                  <a:pt x="586581" y="1904999"/>
                  <a:pt x="597694" y="1922463"/>
                  <a:pt x="590550" y="1943100"/>
                </a:cubicBezTo>
                <a:cubicBezTo>
                  <a:pt x="583406" y="1963737"/>
                  <a:pt x="550069" y="1989931"/>
                  <a:pt x="552450" y="2014537"/>
                </a:cubicBezTo>
                <a:cubicBezTo>
                  <a:pt x="554831" y="2039143"/>
                  <a:pt x="582612" y="2067718"/>
                  <a:pt x="604837" y="2090737"/>
                </a:cubicBezTo>
                <a:cubicBezTo>
                  <a:pt x="627062" y="2113756"/>
                  <a:pt x="661987" y="2137569"/>
                  <a:pt x="685800" y="2152650"/>
                </a:cubicBezTo>
                <a:cubicBezTo>
                  <a:pt x="709613" y="2167731"/>
                  <a:pt x="725487" y="2160588"/>
                  <a:pt x="747712" y="2181225"/>
                </a:cubicBezTo>
                <a:cubicBezTo>
                  <a:pt x="769937" y="2201862"/>
                  <a:pt x="790575" y="2252663"/>
                  <a:pt x="819150" y="2276475"/>
                </a:cubicBezTo>
                <a:cubicBezTo>
                  <a:pt x="847725" y="2300287"/>
                  <a:pt x="893762" y="2316163"/>
                  <a:pt x="919162" y="2324100"/>
                </a:cubicBezTo>
                <a:cubicBezTo>
                  <a:pt x="944562" y="2332037"/>
                  <a:pt x="953294" y="2323306"/>
                  <a:pt x="971550" y="2324100"/>
                </a:cubicBezTo>
                <a:cubicBezTo>
                  <a:pt x="989806" y="2324894"/>
                  <a:pt x="1004094" y="2320131"/>
                  <a:pt x="1028700" y="2328862"/>
                </a:cubicBezTo>
                <a:cubicBezTo>
                  <a:pt x="1053306" y="2337593"/>
                  <a:pt x="1100137" y="2354262"/>
                  <a:pt x="1119187" y="2376487"/>
                </a:cubicBezTo>
                <a:cubicBezTo>
                  <a:pt x="1138237" y="2398712"/>
                  <a:pt x="1138238" y="2425700"/>
                  <a:pt x="1143000" y="2462212"/>
                </a:cubicBezTo>
                <a:cubicBezTo>
                  <a:pt x="1147763" y="2498725"/>
                  <a:pt x="1147762" y="2547143"/>
                  <a:pt x="1147762" y="2595562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7" name="Полилиния 216"/>
          <p:cNvSpPr/>
          <p:nvPr/>
        </p:nvSpPr>
        <p:spPr>
          <a:xfrm>
            <a:off x="5412207" y="2478019"/>
            <a:ext cx="1191378" cy="2546018"/>
          </a:xfrm>
          <a:custGeom>
            <a:avLst/>
            <a:gdLst>
              <a:gd name="connsiteX0" fmla="*/ 0 w 1125537"/>
              <a:gd name="connsiteY0" fmla="*/ 0 h 2576512"/>
              <a:gd name="connsiteX1" fmla="*/ 42863 w 1125537"/>
              <a:gd name="connsiteY1" fmla="*/ 76200 h 2576512"/>
              <a:gd name="connsiteX2" fmla="*/ 100013 w 1125537"/>
              <a:gd name="connsiteY2" fmla="*/ 152400 h 2576512"/>
              <a:gd name="connsiteX3" fmla="*/ 152400 w 1125537"/>
              <a:gd name="connsiteY3" fmla="*/ 185737 h 2576512"/>
              <a:gd name="connsiteX4" fmla="*/ 219075 w 1125537"/>
              <a:gd name="connsiteY4" fmla="*/ 233362 h 2576512"/>
              <a:gd name="connsiteX5" fmla="*/ 271463 w 1125537"/>
              <a:gd name="connsiteY5" fmla="*/ 280987 h 2576512"/>
              <a:gd name="connsiteX6" fmla="*/ 290513 w 1125537"/>
              <a:gd name="connsiteY6" fmla="*/ 361950 h 2576512"/>
              <a:gd name="connsiteX7" fmla="*/ 309563 w 1125537"/>
              <a:gd name="connsiteY7" fmla="*/ 438150 h 2576512"/>
              <a:gd name="connsiteX8" fmla="*/ 385763 w 1125537"/>
              <a:gd name="connsiteY8" fmla="*/ 542925 h 2576512"/>
              <a:gd name="connsiteX9" fmla="*/ 452438 w 1125537"/>
              <a:gd name="connsiteY9" fmla="*/ 595312 h 2576512"/>
              <a:gd name="connsiteX10" fmla="*/ 452438 w 1125537"/>
              <a:gd name="connsiteY10" fmla="*/ 685800 h 2576512"/>
              <a:gd name="connsiteX11" fmla="*/ 471488 w 1125537"/>
              <a:gd name="connsiteY11" fmla="*/ 795337 h 2576512"/>
              <a:gd name="connsiteX12" fmla="*/ 528638 w 1125537"/>
              <a:gd name="connsiteY12" fmla="*/ 900112 h 2576512"/>
              <a:gd name="connsiteX13" fmla="*/ 600075 w 1125537"/>
              <a:gd name="connsiteY13" fmla="*/ 971550 h 2576512"/>
              <a:gd name="connsiteX14" fmla="*/ 619125 w 1125537"/>
              <a:gd name="connsiteY14" fmla="*/ 1057275 h 2576512"/>
              <a:gd name="connsiteX15" fmla="*/ 661988 w 1125537"/>
              <a:gd name="connsiteY15" fmla="*/ 1104900 h 2576512"/>
              <a:gd name="connsiteX16" fmla="*/ 676275 w 1125537"/>
              <a:gd name="connsiteY16" fmla="*/ 1171575 h 2576512"/>
              <a:gd name="connsiteX17" fmla="*/ 690563 w 1125537"/>
              <a:gd name="connsiteY17" fmla="*/ 1247775 h 2576512"/>
              <a:gd name="connsiteX18" fmla="*/ 757238 w 1125537"/>
              <a:gd name="connsiteY18" fmla="*/ 1281112 h 2576512"/>
              <a:gd name="connsiteX19" fmla="*/ 862013 w 1125537"/>
              <a:gd name="connsiteY19" fmla="*/ 1319212 h 2576512"/>
              <a:gd name="connsiteX20" fmla="*/ 971550 w 1125537"/>
              <a:gd name="connsiteY20" fmla="*/ 1404937 h 2576512"/>
              <a:gd name="connsiteX21" fmla="*/ 1019175 w 1125537"/>
              <a:gd name="connsiteY21" fmla="*/ 1509712 h 2576512"/>
              <a:gd name="connsiteX22" fmla="*/ 1023938 w 1125537"/>
              <a:gd name="connsiteY22" fmla="*/ 1566862 h 2576512"/>
              <a:gd name="connsiteX23" fmla="*/ 976313 w 1125537"/>
              <a:gd name="connsiteY23" fmla="*/ 1590675 h 2576512"/>
              <a:gd name="connsiteX24" fmla="*/ 904875 w 1125537"/>
              <a:gd name="connsiteY24" fmla="*/ 1628775 h 2576512"/>
              <a:gd name="connsiteX25" fmla="*/ 881063 w 1125537"/>
              <a:gd name="connsiteY25" fmla="*/ 1676400 h 2576512"/>
              <a:gd name="connsiteX26" fmla="*/ 781050 w 1125537"/>
              <a:gd name="connsiteY26" fmla="*/ 1728787 h 2576512"/>
              <a:gd name="connsiteX27" fmla="*/ 681038 w 1125537"/>
              <a:gd name="connsiteY27" fmla="*/ 1762125 h 2576512"/>
              <a:gd name="connsiteX28" fmla="*/ 609600 w 1125537"/>
              <a:gd name="connsiteY28" fmla="*/ 1785937 h 2576512"/>
              <a:gd name="connsiteX29" fmla="*/ 571500 w 1125537"/>
              <a:gd name="connsiteY29" fmla="*/ 1833562 h 2576512"/>
              <a:gd name="connsiteX30" fmla="*/ 571500 w 1125537"/>
              <a:gd name="connsiteY30" fmla="*/ 1890712 h 2576512"/>
              <a:gd name="connsiteX31" fmla="*/ 542925 w 1125537"/>
              <a:gd name="connsiteY31" fmla="*/ 1933575 h 2576512"/>
              <a:gd name="connsiteX32" fmla="*/ 533400 w 1125537"/>
              <a:gd name="connsiteY32" fmla="*/ 2009775 h 2576512"/>
              <a:gd name="connsiteX33" fmla="*/ 581025 w 1125537"/>
              <a:gd name="connsiteY33" fmla="*/ 2076450 h 2576512"/>
              <a:gd name="connsiteX34" fmla="*/ 671513 w 1125537"/>
              <a:gd name="connsiteY34" fmla="*/ 2166937 h 2576512"/>
              <a:gd name="connsiteX35" fmla="*/ 733425 w 1125537"/>
              <a:gd name="connsiteY35" fmla="*/ 2190750 h 2576512"/>
              <a:gd name="connsiteX36" fmla="*/ 800100 w 1125537"/>
              <a:gd name="connsiteY36" fmla="*/ 2243137 h 2576512"/>
              <a:gd name="connsiteX37" fmla="*/ 819150 w 1125537"/>
              <a:gd name="connsiteY37" fmla="*/ 2290762 h 2576512"/>
              <a:gd name="connsiteX38" fmla="*/ 914400 w 1125537"/>
              <a:gd name="connsiteY38" fmla="*/ 2347912 h 2576512"/>
              <a:gd name="connsiteX39" fmla="*/ 1009650 w 1125537"/>
              <a:gd name="connsiteY39" fmla="*/ 2366962 h 2576512"/>
              <a:gd name="connsiteX40" fmla="*/ 1066800 w 1125537"/>
              <a:gd name="connsiteY40" fmla="*/ 2362200 h 2576512"/>
              <a:gd name="connsiteX41" fmla="*/ 1114425 w 1125537"/>
              <a:gd name="connsiteY41" fmla="*/ 2371725 h 2576512"/>
              <a:gd name="connsiteX42" fmla="*/ 1123950 w 1125537"/>
              <a:gd name="connsiteY42" fmla="*/ 2433637 h 2576512"/>
              <a:gd name="connsiteX43" fmla="*/ 1123950 w 1125537"/>
              <a:gd name="connsiteY43" fmla="*/ 2519362 h 2576512"/>
              <a:gd name="connsiteX44" fmla="*/ 1119188 w 1125537"/>
              <a:gd name="connsiteY44" fmla="*/ 2576512 h 2576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125537" h="2576512">
                <a:moveTo>
                  <a:pt x="0" y="0"/>
                </a:moveTo>
                <a:cubicBezTo>
                  <a:pt x="13097" y="25400"/>
                  <a:pt x="26194" y="50800"/>
                  <a:pt x="42863" y="76200"/>
                </a:cubicBezTo>
                <a:cubicBezTo>
                  <a:pt x="59532" y="101600"/>
                  <a:pt x="81757" y="134144"/>
                  <a:pt x="100013" y="152400"/>
                </a:cubicBezTo>
                <a:cubicBezTo>
                  <a:pt x="118269" y="170656"/>
                  <a:pt x="132556" y="172243"/>
                  <a:pt x="152400" y="185737"/>
                </a:cubicBezTo>
                <a:cubicBezTo>
                  <a:pt x="172244" y="199231"/>
                  <a:pt x="199231" y="217487"/>
                  <a:pt x="219075" y="233362"/>
                </a:cubicBezTo>
                <a:cubicBezTo>
                  <a:pt x="238919" y="249237"/>
                  <a:pt x="259557" y="259556"/>
                  <a:pt x="271463" y="280987"/>
                </a:cubicBezTo>
                <a:cubicBezTo>
                  <a:pt x="283369" y="302418"/>
                  <a:pt x="284163" y="335756"/>
                  <a:pt x="290513" y="361950"/>
                </a:cubicBezTo>
                <a:cubicBezTo>
                  <a:pt x="296863" y="388144"/>
                  <a:pt x="293688" y="407988"/>
                  <a:pt x="309563" y="438150"/>
                </a:cubicBezTo>
                <a:cubicBezTo>
                  <a:pt x="325438" y="468312"/>
                  <a:pt x="361951" y="516731"/>
                  <a:pt x="385763" y="542925"/>
                </a:cubicBezTo>
                <a:cubicBezTo>
                  <a:pt x="409575" y="569119"/>
                  <a:pt x="441326" y="571500"/>
                  <a:pt x="452438" y="595312"/>
                </a:cubicBezTo>
                <a:cubicBezTo>
                  <a:pt x="463551" y="619125"/>
                  <a:pt x="449263" y="652463"/>
                  <a:pt x="452438" y="685800"/>
                </a:cubicBezTo>
                <a:cubicBezTo>
                  <a:pt x="455613" y="719137"/>
                  <a:pt x="458788" y="759618"/>
                  <a:pt x="471488" y="795337"/>
                </a:cubicBezTo>
                <a:cubicBezTo>
                  <a:pt x="484188" y="831056"/>
                  <a:pt x="507207" y="870743"/>
                  <a:pt x="528638" y="900112"/>
                </a:cubicBezTo>
                <a:cubicBezTo>
                  <a:pt x="550069" y="929481"/>
                  <a:pt x="584994" y="945356"/>
                  <a:pt x="600075" y="971550"/>
                </a:cubicBezTo>
                <a:cubicBezTo>
                  <a:pt x="615156" y="997744"/>
                  <a:pt x="608806" y="1035050"/>
                  <a:pt x="619125" y="1057275"/>
                </a:cubicBezTo>
                <a:cubicBezTo>
                  <a:pt x="629444" y="1079500"/>
                  <a:pt x="652463" y="1085850"/>
                  <a:pt x="661988" y="1104900"/>
                </a:cubicBezTo>
                <a:cubicBezTo>
                  <a:pt x="671513" y="1123950"/>
                  <a:pt x="671513" y="1147763"/>
                  <a:pt x="676275" y="1171575"/>
                </a:cubicBezTo>
                <a:cubicBezTo>
                  <a:pt x="681037" y="1195387"/>
                  <a:pt x="677069" y="1229519"/>
                  <a:pt x="690563" y="1247775"/>
                </a:cubicBezTo>
                <a:cubicBezTo>
                  <a:pt x="704057" y="1266031"/>
                  <a:pt x="728663" y="1269206"/>
                  <a:pt x="757238" y="1281112"/>
                </a:cubicBezTo>
                <a:cubicBezTo>
                  <a:pt x="785813" y="1293018"/>
                  <a:pt x="826294" y="1298575"/>
                  <a:pt x="862013" y="1319212"/>
                </a:cubicBezTo>
                <a:cubicBezTo>
                  <a:pt x="897732" y="1339850"/>
                  <a:pt x="945356" y="1373187"/>
                  <a:pt x="971550" y="1404937"/>
                </a:cubicBezTo>
                <a:cubicBezTo>
                  <a:pt x="997744" y="1436687"/>
                  <a:pt x="1010444" y="1482725"/>
                  <a:pt x="1019175" y="1509712"/>
                </a:cubicBezTo>
                <a:cubicBezTo>
                  <a:pt x="1027906" y="1536699"/>
                  <a:pt x="1031082" y="1553368"/>
                  <a:pt x="1023938" y="1566862"/>
                </a:cubicBezTo>
                <a:cubicBezTo>
                  <a:pt x="1016794" y="1580356"/>
                  <a:pt x="996157" y="1580356"/>
                  <a:pt x="976313" y="1590675"/>
                </a:cubicBezTo>
                <a:cubicBezTo>
                  <a:pt x="956469" y="1600994"/>
                  <a:pt x="920750" y="1614488"/>
                  <a:pt x="904875" y="1628775"/>
                </a:cubicBezTo>
                <a:cubicBezTo>
                  <a:pt x="889000" y="1643063"/>
                  <a:pt x="901700" y="1659731"/>
                  <a:pt x="881063" y="1676400"/>
                </a:cubicBezTo>
                <a:cubicBezTo>
                  <a:pt x="860426" y="1693069"/>
                  <a:pt x="814387" y="1714500"/>
                  <a:pt x="781050" y="1728787"/>
                </a:cubicBezTo>
                <a:cubicBezTo>
                  <a:pt x="747713" y="1743074"/>
                  <a:pt x="681038" y="1762125"/>
                  <a:pt x="681038" y="1762125"/>
                </a:cubicBezTo>
                <a:cubicBezTo>
                  <a:pt x="652463" y="1771650"/>
                  <a:pt x="627856" y="1774031"/>
                  <a:pt x="609600" y="1785937"/>
                </a:cubicBezTo>
                <a:cubicBezTo>
                  <a:pt x="591344" y="1797843"/>
                  <a:pt x="577850" y="1816100"/>
                  <a:pt x="571500" y="1833562"/>
                </a:cubicBezTo>
                <a:cubicBezTo>
                  <a:pt x="565150" y="1851024"/>
                  <a:pt x="576263" y="1874043"/>
                  <a:pt x="571500" y="1890712"/>
                </a:cubicBezTo>
                <a:cubicBezTo>
                  <a:pt x="566738" y="1907381"/>
                  <a:pt x="549275" y="1913731"/>
                  <a:pt x="542925" y="1933575"/>
                </a:cubicBezTo>
                <a:cubicBezTo>
                  <a:pt x="536575" y="1953419"/>
                  <a:pt x="527050" y="1985963"/>
                  <a:pt x="533400" y="2009775"/>
                </a:cubicBezTo>
                <a:cubicBezTo>
                  <a:pt x="539750" y="2033587"/>
                  <a:pt x="558006" y="2050256"/>
                  <a:pt x="581025" y="2076450"/>
                </a:cubicBezTo>
                <a:cubicBezTo>
                  <a:pt x="604044" y="2102644"/>
                  <a:pt x="646113" y="2147887"/>
                  <a:pt x="671513" y="2166937"/>
                </a:cubicBezTo>
                <a:cubicBezTo>
                  <a:pt x="696913" y="2185987"/>
                  <a:pt x="711994" y="2178050"/>
                  <a:pt x="733425" y="2190750"/>
                </a:cubicBezTo>
                <a:cubicBezTo>
                  <a:pt x="754856" y="2203450"/>
                  <a:pt x="785813" y="2226468"/>
                  <a:pt x="800100" y="2243137"/>
                </a:cubicBezTo>
                <a:cubicBezTo>
                  <a:pt x="814387" y="2259806"/>
                  <a:pt x="800100" y="2273300"/>
                  <a:pt x="819150" y="2290762"/>
                </a:cubicBezTo>
                <a:cubicBezTo>
                  <a:pt x="838200" y="2308224"/>
                  <a:pt x="882650" y="2335212"/>
                  <a:pt x="914400" y="2347912"/>
                </a:cubicBezTo>
                <a:cubicBezTo>
                  <a:pt x="946150" y="2360612"/>
                  <a:pt x="984250" y="2364581"/>
                  <a:pt x="1009650" y="2366962"/>
                </a:cubicBezTo>
                <a:cubicBezTo>
                  <a:pt x="1035050" y="2369343"/>
                  <a:pt x="1049338" y="2361406"/>
                  <a:pt x="1066800" y="2362200"/>
                </a:cubicBezTo>
                <a:cubicBezTo>
                  <a:pt x="1084262" y="2362994"/>
                  <a:pt x="1104900" y="2359819"/>
                  <a:pt x="1114425" y="2371725"/>
                </a:cubicBezTo>
                <a:cubicBezTo>
                  <a:pt x="1123950" y="2383631"/>
                  <a:pt x="1122363" y="2409031"/>
                  <a:pt x="1123950" y="2433637"/>
                </a:cubicBezTo>
                <a:cubicBezTo>
                  <a:pt x="1125537" y="2458243"/>
                  <a:pt x="1124744" y="2495550"/>
                  <a:pt x="1123950" y="2519362"/>
                </a:cubicBezTo>
                <a:cubicBezTo>
                  <a:pt x="1123156" y="2543174"/>
                  <a:pt x="1121172" y="2559843"/>
                  <a:pt x="1119188" y="2576512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8" name="Полилиния 217"/>
          <p:cNvSpPr/>
          <p:nvPr/>
        </p:nvSpPr>
        <p:spPr>
          <a:xfrm>
            <a:off x="5460595" y="2468607"/>
            <a:ext cx="1207342" cy="2546018"/>
          </a:xfrm>
          <a:custGeom>
            <a:avLst/>
            <a:gdLst>
              <a:gd name="connsiteX0" fmla="*/ 0 w 1140619"/>
              <a:gd name="connsiteY0" fmla="*/ 0 h 2576512"/>
              <a:gd name="connsiteX1" fmla="*/ 66675 w 1140619"/>
              <a:gd name="connsiteY1" fmla="*/ 104775 h 2576512"/>
              <a:gd name="connsiteX2" fmla="*/ 200025 w 1140619"/>
              <a:gd name="connsiteY2" fmla="*/ 209550 h 2576512"/>
              <a:gd name="connsiteX3" fmla="*/ 266700 w 1140619"/>
              <a:gd name="connsiteY3" fmla="*/ 276225 h 2576512"/>
              <a:gd name="connsiteX4" fmla="*/ 300037 w 1140619"/>
              <a:gd name="connsiteY4" fmla="*/ 409575 h 2576512"/>
              <a:gd name="connsiteX5" fmla="*/ 347662 w 1140619"/>
              <a:gd name="connsiteY5" fmla="*/ 495300 h 2576512"/>
              <a:gd name="connsiteX6" fmla="*/ 404812 w 1140619"/>
              <a:gd name="connsiteY6" fmla="*/ 542925 h 2576512"/>
              <a:gd name="connsiteX7" fmla="*/ 457200 w 1140619"/>
              <a:gd name="connsiteY7" fmla="*/ 590550 h 2576512"/>
              <a:gd name="connsiteX8" fmla="*/ 452437 w 1140619"/>
              <a:gd name="connsiteY8" fmla="*/ 666750 h 2576512"/>
              <a:gd name="connsiteX9" fmla="*/ 461962 w 1140619"/>
              <a:gd name="connsiteY9" fmla="*/ 757237 h 2576512"/>
              <a:gd name="connsiteX10" fmla="*/ 533400 w 1140619"/>
              <a:gd name="connsiteY10" fmla="*/ 895350 h 2576512"/>
              <a:gd name="connsiteX11" fmla="*/ 595312 w 1140619"/>
              <a:gd name="connsiteY11" fmla="*/ 962025 h 2576512"/>
              <a:gd name="connsiteX12" fmla="*/ 628650 w 1140619"/>
              <a:gd name="connsiteY12" fmla="*/ 1062037 h 2576512"/>
              <a:gd name="connsiteX13" fmla="*/ 666750 w 1140619"/>
              <a:gd name="connsiteY13" fmla="*/ 1100137 h 2576512"/>
              <a:gd name="connsiteX14" fmla="*/ 695325 w 1140619"/>
              <a:gd name="connsiteY14" fmla="*/ 1228725 h 2576512"/>
              <a:gd name="connsiteX15" fmla="*/ 800100 w 1140619"/>
              <a:gd name="connsiteY15" fmla="*/ 1276350 h 2576512"/>
              <a:gd name="connsiteX16" fmla="*/ 947737 w 1140619"/>
              <a:gd name="connsiteY16" fmla="*/ 1366837 h 2576512"/>
              <a:gd name="connsiteX17" fmla="*/ 1014412 w 1140619"/>
              <a:gd name="connsiteY17" fmla="*/ 1481137 h 2576512"/>
              <a:gd name="connsiteX18" fmla="*/ 1023937 w 1140619"/>
              <a:gd name="connsiteY18" fmla="*/ 1566862 h 2576512"/>
              <a:gd name="connsiteX19" fmla="*/ 981075 w 1140619"/>
              <a:gd name="connsiteY19" fmla="*/ 1619250 h 2576512"/>
              <a:gd name="connsiteX20" fmla="*/ 895350 w 1140619"/>
              <a:gd name="connsiteY20" fmla="*/ 1671637 h 2576512"/>
              <a:gd name="connsiteX21" fmla="*/ 838200 w 1140619"/>
              <a:gd name="connsiteY21" fmla="*/ 1724025 h 2576512"/>
              <a:gd name="connsiteX22" fmla="*/ 733425 w 1140619"/>
              <a:gd name="connsiteY22" fmla="*/ 1781175 h 2576512"/>
              <a:gd name="connsiteX23" fmla="*/ 600075 w 1140619"/>
              <a:gd name="connsiteY23" fmla="*/ 1824037 h 2576512"/>
              <a:gd name="connsiteX24" fmla="*/ 576262 w 1140619"/>
              <a:gd name="connsiteY24" fmla="*/ 1924050 h 2576512"/>
              <a:gd name="connsiteX25" fmla="*/ 538162 w 1140619"/>
              <a:gd name="connsiteY25" fmla="*/ 1957387 h 2576512"/>
              <a:gd name="connsiteX26" fmla="*/ 552450 w 1140619"/>
              <a:gd name="connsiteY26" fmla="*/ 2024062 h 2576512"/>
              <a:gd name="connsiteX27" fmla="*/ 652462 w 1140619"/>
              <a:gd name="connsiteY27" fmla="*/ 2128837 h 2576512"/>
              <a:gd name="connsiteX28" fmla="*/ 723900 w 1140619"/>
              <a:gd name="connsiteY28" fmla="*/ 2171700 h 2576512"/>
              <a:gd name="connsiteX29" fmla="*/ 781050 w 1140619"/>
              <a:gd name="connsiteY29" fmla="*/ 2219325 h 2576512"/>
              <a:gd name="connsiteX30" fmla="*/ 833437 w 1140619"/>
              <a:gd name="connsiteY30" fmla="*/ 2290762 h 2576512"/>
              <a:gd name="connsiteX31" fmla="*/ 966787 w 1140619"/>
              <a:gd name="connsiteY31" fmla="*/ 2338387 h 2576512"/>
              <a:gd name="connsiteX32" fmla="*/ 1028700 w 1140619"/>
              <a:gd name="connsiteY32" fmla="*/ 2333625 h 2576512"/>
              <a:gd name="connsiteX33" fmla="*/ 1123950 w 1140619"/>
              <a:gd name="connsiteY33" fmla="*/ 2371725 h 2576512"/>
              <a:gd name="connsiteX34" fmla="*/ 1128712 w 1140619"/>
              <a:gd name="connsiteY34" fmla="*/ 2490787 h 2576512"/>
              <a:gd name="connsiteX35" fmla="*/ 1133475 w 1140619"/>
              <a:gd name="connsiteY35" fmla="*/ 2576512 h 2576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140619" h="2576512">
                <a:moveTo>
                  <a:pt x="0" y="0"/>
                </a:moveTo>
                <a:cubicBezTo>
                  <a:pt x="16669" y="34925"/>
                  <a:pt x="33338" y="69850"/>
                  <a:pt x="66675" y="104775"/>
                </a:cubicBezTo>
                <a:cubicBezTo>
                  <a:pt x="100013" y="139700"/>
                  <a:pt x="166688" y="180975"/>
                  <a:pt x="200025" y="209550"/>
                </a:cubicBezTo>
                <a:cubicBezTo>
                  <a:pt x="233363" y="238125"/>
                  <a:pt x="250031" y="242888"/>
                  <a:pt x="266700" y="276225"/>
                </a:cubicBezTo>
                <a:cubicBezTo>
                  <a:pt x="283369" y="309562"/>
                  <a:pt x="286543" y="373063"/>
                  <a:pt x="300037" y="409575"/>
                </a:cubicBezTo>
                <a:cubicBezTo>
                  <a:pt x="313531" y="446088"/>
                  <a:pt x="330200" y="473075"/>
                  <a:pt x="347662" y="495300"/>
                </a:cubicBezTo>
                <a:cubicBezTo>
                  <a:pt x="365124" y="517525"/>
                  <a:pt x="386556" y="527050"/>
                  <a:pt x="404812" y="542925"/>
                </a:cubicBezTo>
                <a:cubicBezTo>
                  <a:pt x="423068" y="558800"/>
                  <a:pt x="449263" y="569913"/>
                  <a:pt x="457200" y="590550"/>
                </a:cubicBezTo>
                <a:cubicBezTo>
                  <a:pt x="465138" y="611188"/>
                  <a:pt x="451643" y="638969"/>
                  <a:pt x="452437" y="666750"/>
                </a:cubicBezTo>
                <a:cubicBezTo>
                  <a:pt x="453231" y="694531"/>
                  <a:pt x="448468" y="719137"/>
                  <a:pt x="461962" y="757237"/>
                </a:cubicBezTo>
                <a:cubicBezTo>
                  <a:pt x="475456" y="795337"/>
                  <a:pt x="511175" y="861219"/>
                  <a:pt x="533400" y="895350"/>
                </a:cubicBezTo>
                <a:cubicBezTo>
                  <a:pt x="555625" y="929481"/>
                  <a:pt x="579437" y="934244"/>
                  <a:pt x="595312" y="962025"/>
                </a:cubicBezTo>
                <a:cubicBezTo>
                  <a:pt x="611187" y="989806"/>
                  <a:pt x="616744" y="1039018"/>
                  <a:pt x="628650" y="1062037"/>
                </a:cubicBezTo>
                <a:cubicBezTo>
                  <a:pt x="640556" y="1085056"/>
                  <a:pt x="655638" y="1072356"/>
                  <a:pt x="666750" y="1100137"/>
                </a:cubicBezTo>
                <a:cubicBezTo>
                  <a:pt x="677862" y="1127918"/>
                  <a:pt x="673100" y="1199356"/>
                  <a:pt x="695325" y="1228725"/>
                </a:cubicBezTo>
                <a:cubicBezTo>
                  <a:pt x="717550" y="1258094"/>
                  <a:pt x="758032" y="1253331"/>
                  <a:pt x="800100" y="1276350"/>
                </a:cubicBezTo>
                <a:cubicBezTo>
                  <a:pt x="842168" y="1299369"/>
                  <a:pt x="912018" y="1332706"/>
                  <a:pt x="947737" y="1366837"/>
                </a:cubicBezTo>
                <a:cubicBezTo>
                  <a:pt x="983456" y="1400968"/>
                  <a:pt x="1001712" y="1447800"/>
                  <a:pt x="1014412" y="1481137"/>
                </a:cubicBezTo>
                <a:cubicBezTo>
                  <a:pt x="1027112" y="1514475"/>
                  <a:pt x="1029493" y="1543843"/>
                  <a:pt x="1023937" y="1566862"/>
                </a:cubicBezTo>
                <a:cubicBezTo>
                  <a:pt x="1018381" y="1589881"/>
                  <a:pt x="1002506" y="1601787"/>
                  <a:pt x="981075" y="1619250"/>
                </a:cubicBezTo>
                <a:cubicBezTo>
                  <a:pt x="959644" y="1636713"/>
                  <a:pt x="919162" y="1654175"/>
                  <a:pt x="895350" y="1671637"/>
                </a:cubicBezTo>
                <a:cubicBezTo>
                  <a:pt x="871538" y="1689099"/>
                  <a:pt x="865188" y="1705769"/>
                  <a:pt x="838200" y="1724025"/>
                </a:cubicBezTo>
                <a:cubicBezTo>
                  <a:pt x="811213" y="1742281"/>
                  <a:pt x="773113" y="1764506"/>
                  <a:pt x="733425" y="1781175"/>
                </a:cubicBezTo>
                <a:cubicBezTo>
                  <a:pt x="693738" y="1797844"/>
                  <a:pt x="626269" y="1800225"/>
                  <a:pt x="600075" y="1824037"/>
                </a:cubicBezTo>
                <a:cubicBezTo>
                  <a:pt x="573881" y="1847849"/>
                  <a:pt x="586581" y="1901825"/>
                  <a:pt x="576262" y="1924050"/>
                </a:cubicBezTo>
                <a:cubicBezTo>
                  <a:pt x="565943" y="1946275"/>
                  <a:pt x="542131" y="1940718"/>
                  <a:pt x="538162" y="1957387"/>
                </a:cubicBezTo>
                <a:cubicBezTo>
                  <a:pt x="534193" y="1974056"/>
                  <a:pt x="533400" y="1995487"/>
                  <a:pt x="552450" y="2024062"/>
                </a:cubicBezTo>
                <a:cubicBezTo>
                  <a:pt x="571500" y="2052637"/>
                  <a:pt x="623887" y="2104231"/>
                  <a:pt x="652462" y="2128837"/>
                </a:cubicBezTo>
                <a:cubicBezTo>
                  <a:pt x="681037" y="2153443"/>
                  <a:pt x="702469" y="2156619"/>
                  <a:pt x="723900" y="2171700"/>
                </a:cubicBezTo>
                <a:cubicBezTo>
                  <a:pt x="745331" y="2186781"/>
                  <a:pt x="762794" y="2199481"/>
                  <a:pt x="781050" y="2219325"/>
                </a:cubicBezTo>
                <a:cubicBezTo>
                  <a:pt x="799306" y="2239169"/>
                  <a:pt x="802481" y="2270918"/>
                  <a:pt x="833437" y="2290762"/>
                </a:cubicBezTo>
                <a:cubicBezTo>
                  <a:pt x="864393" y="2310606"/>
                  <a:pt x="934243" y="2331243"/>
                  <a:pt x="966787" y="2338387"/>
                </a:cubicBezTo>
                <a:cubicBezTo>
                  <a:pt x="999331" y="2345531"/>
                  <a:pt x="1002506" y="2328069"/>
                  <a:pt x="1028700" y="2333625"/>
                </a:cubicBezTo>
                <a:cubicBezTo>
                  <a:pt x="1054894" y="2339181"/>
                  <a:pt x="1107281" y="2345531"/>
                  <a:pt x="1123950" y="2371725"/>
                </a:cubicBezTo>
                <a:cubicBezTo>
                  <a:pt x="1140619" y="2397919"/>
                  <a:pt x="1127125" y="2456656"/>
                  <a:pt x="1128712" y="2490787"/>
                </a:cubicBezTo>
                <a:cubicBezTo>
                  <a:pt x="1130299" y="2524918"/>
                  <a:pt x="1131887" y="2550715"/>
                  <a:pt x="1133475" y="2576512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0" name="AutoShape 20"/>
          <p:cNvSpPr>
            <a:spLocks noChangeArrowheads="1"/>
          </p:cNvSpPr>
          <p:nvPr/>
        </p:nvSpPr>
        <p:spPr bwMode="auto">
          <a:xfrm>
            <a:off x="936933" y="4839357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89" name="Полилиния 188"/>
          <p:cNvSpPr/>
          <p:nvPr/>
        </p:nvSpPr>
        <p:spPr>
          <a:xfrm>
            <a:off x="2560658" y="2597737"/>
            <a:ext cx="4616067" cy="2938022"/>
          </a:xfrm>
          <a:custGeom>
            <a:avLst/>
            <a:gdLst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0 w 5184476"/>
              <a:gd name="connsiteY51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599740 w 5184476"/>
              <a:gd name="connsiteY8" fmla="*/ 3365864 h 3643222"/>
              <a:gd name="connsiteX9" fmla="*/ 4226944 w 5184476"/>
              <a:gd name="connsiteY9" fmla="*/ 3226279 h 3643222"/>
              <a:gd name="connsiteX10" fmla="*/ 4080295 w 5184476"/>
              <a:gd name="connsiteY10" fmla="*/ 3191774 h 3643222"/>
              <a:gd name="connsiteX11" fmla="*/ 3950899 w 5184476"/>
              <a:gd name="connsiteY11" fmla="*/ 3165894 h 3643222"/>
              <a:gd name="connsiteX12" fmla="*/ 3743865 w 5184476"/>
              <a:gd name="connsiteY12" fmla="*/ 3174521 h 3643222"/>
              <a:gd name="connsiteX13" fmla="*/ 3700733 w 5184476"/>
              <a:gd name="connsiteY13" fmla="*/ 3312544 h 3643222"/>
              <a:gd name="connsiteX14" fmla="*/ 3605842 w 5184476"/>
              <a:gd name="connsiteY14" fmla="*/ 3252159 h 3643222"/>
              <a:gd name="connsiteX15" fmla="*/ 3554084 w 5184476"/>
              <a:gd name="connsiteY15" fmla="*/ 3200400 h 3643222"/>
              <a:gd name="connsiteX16" fmla="*/ 3416061 w 5184476"/>
              <a:gd name="connsiteY16" fmla="*/ 3243532 h 3643222"/>
              <a:gd name="connsiteX17" fmla="*/ 3260785 w 5184476"/>
              <a:gd name="connsiteY17" fmla="*/ 3295291 h 3643222"/>
              <a:gd name="connsiteX18" fmla="*/ 3131389 w 5184476"/>
              <a:gd name="connsiteY18" fmla="*/ 3372928 h 3643222"/>
              <a:gd name="connsiteX19" fmla="*/ 3071004 w 5184476"/>
              <a:gd name="connsiteY19" fmla="*/ 3459193 h 3643222"/>
              <a:gd name="connsiteX20" fmla="*/ 2976114 w 5184476"/>
              <a:gd name="connsiteY20" fmla="*/ 3476445 h 3643222"/>
              <a:gd name="connsiteX21" fmla="*/ 2820838 w 5184476"/>
              <a:gd name="connsiteY21" fmla="*/ 3640347 h 3643222"/>
              <a:gd name="connsiteX22" fmla="*/ 2622431 w 5184476"/>
              <a:gd name="connsiteY22" fmla="*/ 3493698 h 3643222"/>
              <a:gd name="connsiteX23" fmla="*/ 2631057 w 5184476"/>
              <a:gd name="connsiteY23" fmla="*/ 3364302 h 3643222"/>
              <a:gd name="connsiteX24" fmla="*/ 2587925 w 5184476"/>
              <a:gd name="connsiteY24" fmla="*/ 3183147 h 3643222"/>
              <a:gd name="connsiteX25" fmla="*/ 2467155 w 5184476"/>
              <a:gd name="connsiteY25" fmla="*/ 2984740 h 3643222"/>
              <a:gd name="connsiteX26" fmla="*/ 2406770 w 5184476"/>
              <a:gd name="connsiteY26" fmla="*/ 2820838 h 3643222"/>
              <a:gd name="connsiteX27" fmla="*/ 2216989 w 5184476"/>
              <a:gd name="connsiteY27" fmla="*/ 2544793 h 3643222"/>
              <a:gd name="connsiteX28" fmla="*/ 2087593 w 5184476"/>
              <a:gd name="connsiteY28" fmla="*/ 2553419 h 3643222"/>
              <a:gd name="connsiteX29" fmla="*/ 1923691 w 5184476"/>
              <a:gd name="connsiteY29" fmla="*/ 2458528 h 3643222"/>
              <a:gd name="connsiteX30" fmla="*/ 1854680 w 5184476"/>
              <a:gd name="connsiteY30" fmla="*/ 2458528 h 3643222"/>
              <a:gd name="connsiteX31" fmla="*/ 1742536 w 5184476"/>
              <a:gd name="connsiteY31" fmla="*/ 2337759 h 3643222"/>
              <a:gd name="connsiteX32" fmla="*/ 1759789 w 5184476"/>
              <a:gd name="connsiteY32" fmla="*/ 2061713 h 3643222"/>
              <a:gd name="connsiteX33" fmla="*/ 1673525 w 5184476"/>
              <a:gd name="connsiteY33" fmla="*/ 1906438 h 3643222"/>
              <a:gd name="connsiteX34" fmla="*/ 1466491 w 5184476"/>
              <a:gd name="connsiteY34" fmla="*/ 1915064 h 3643222"/>
              <a:gd name="connsiteX35" fmla="*/ 1311216 w 5184476"/>
              <a:gd name="connsiteY35" fmla="*/ 1751162 h 3643222"/>
              <a:gd name="connsiteX36" fmla="*/ 1164567 w 5184476"/>
              <a:gd name="connsiteY36" fmla="*/ 1742536 h 3643222"/>
              <a:gd name="connsiteX37" fmla="*/ 1095555 w 5184476"/>
              <a:gd name="connsiteY37" fmla="*/ 1518249 h 3643222"/>
              <a:gd name="connsiteX38" fmla="*/ 974785 w 5184476"/>
              <a:gd name="connsiteY38" fmla="*/ 1475117 h 3643222"/>
              <a:gd name="connsiteX39" fmla="*/ 974785 w 5184476"/>
              <a:gd name="connsiteY39" fmla="*/ 1337094 h 3643222"/>
              <a:gd name="connsiteX40" fmla="*/ 948906 w 5184476"/>
              <a:gd name="connsiteY40" fmla="*/ 1224951 h 3643222"/>
              <a:gd name="connsiteX41" fmla="*/ 845389 w 5184476"/>
              <a:gd name="connsiteY41" fmla="*/ 1173193 h 3643222"/>
              <a:gd name="connsiteX42" fmla="*/ 793631 w 5184476"/>
              <a:gd name="connsiteY42" fmla="*/ 854015 h 3643222"/>
              <a:gd name="connsiteX43" fmla="*/ 741872 w 5184476"/>
              <a:gd name="connsiteY43" fmla="*/ 646981 h 3643222"/>
              <a:gd name="connsiteX44" fmla="*/ 741872 w 5184476"/>
              <a:gd name="connsiteY44" fmla="*/ 517585 h 3643222"/>
              <a:gd name="connsiteX45" fmla="*/ 733246 w 5184476"/>
              <a:gd name="connsiteY45" fmla="*/ 431321 h 3643222"/>
              <a:gd name="connsiteX46" fmla="*/ 612476 w 5184476"/>
              <a:gd name="connsiteY46" fmla="*/ 379562 h 3643222"/>
              <a:gd name="connsiteX47" fmla="*/ 517585 w 5184476"/>
              <a:gd name="connsiteY47" fmla="*/ 327804 h 3643222"/>
              <a:gd name="connsiteX48" fmla="*/ 405442 w 5184476"/>
              <a:gd name="connsiteY48" fmla="*/ 310551 h 3643222"/>
              <a:gd name="connsiteX49" fmla="*/ 267419 w 5184476"/>
              <a:gd name="connsiteY49" fmla="*/ 258793 h 3643222"/>
              <a:gd name="connsiteX50" fmla="*/ 120770 w 5184476"/>
              <a:gd name="connsiteY50" fmla="*/ 198408 h 3643222"/>
              <a:gd name="connsiteX51" fmla="*/ 51759 w 5184476"/>
              <a:gd name="connsiteY51" fmla="*/ 776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0 w 5184476"/>
              <a:gd name="connsiteY51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0 w 5184476"/>
              <a:gd name="connsiteY51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7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8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8 w 5184476"/>
              <a:gd name="connsiteY6" fmla="*/ 3096883 h 3643222"/>
              <a:gd name="connsiteX7" fmla="*/ 4582029 w 5184476"/>
              <a:gd name="connsiteY7" fmla="*/ 3101419 h 3643222"/>
              <a:gd name="connsiteX8" fmla="*/ 4382219 w 5184476"/>
              <a:gd name="connsiteY8" fmla="*/ 3200400 h 3643222"/>
              <a:gd name="connsiteX9" fmla="*/ 4226944 w 5184476"/>
              <a:gd name="connsiteY9" fmla="*/ 3226279 h 3643222"/>
              <a:gd name="connsiteX10" fmla="*/ 4080295 w 5184476"/>
              <a:gd name="connsiteY10" fmla="*/ 3191774 h 3643222"/>
              <a:gd name="connsiteX11" fmla="*/ 3950899 w 5184476"/>
              <a:gd name="connsiteY11" fmla="*/ 3165894 h 3643222"/>
              <a:gd name="connsiteX12" fmla="*/ 3743865 w 5184476"/>
              <a:gd name="connsiteY12" fmla="*/ 3174521 h 3643222"/>
              <a:gd name="connsiteX13" fmla="*/ 3700733 w 5184476"/>
              <a:gd name="connsiteY13" fmla="*/ 3312544 h 3643222"/>
              <a:gd name="connsiteX14" fmla="*/ 3605842 w 5184476"/>
              <a:gd name="connsiteY14" fmla="*/ 3252159 h 3643222"/>
              <a:gd name="connsiteX15" fmla="*/ 3554084 w 5184476"/>
              <a:gd name="connsiteY15" fmla="*/ 3200400 h 3643222"/>
              <a:gd name="connsiteX16" fmla="*/ 3416061 w 5184476"/>
              <a:gd name="connsiteY16" fmla="*/ 3243532 h 3643222"/>
              <a:gd name="connsiteX17" fmla="*/ 3260785 w 5184476"/>
              <a:gd name="connsiteY17" fmla="*/ 3295291 h 3643222"/>
              <a:gd name="connsiteX18" fmla="*/ 3131389 w 5184476"/>
              <a:gd name="connsiteY18" fmla="*/ 3372928 h 3643222"/>
              <a:gd name="connsiteX19" fmla="*/ 3071004 w 5184476"/>
              <a:gd name="connsiteY19" fmla="*/ 3459193 h 3643222"/>
              <a:gd name="connsiteX20" fmla="*/ 2976114 w 5184476"/>
              <a:gd name="connsiteY20" fmla="*/ 3476445 h 3643222"/>
              <a:gd name="connsiteX21" fmla="*/ 2820838 w 5184476"/>
              <a:gd name="connsiteY21" fmla="*/ 3640347 h 3643222"/>
              <a:gd name="connsiteX22" fmla="*/ 2622431 w 5184476"/>
              <a:gd name="connsiteY22" fmla="*/ 3493698 h 3643222"/>
              <a:gd name="connsiteX23" fmla="*/ 2631057 w 5184476"/>
              <a:gd name="connsiteY23" fmla="*/ 3364302 h 3643222"/>
              <a:gd name="connsiteX24" fmla="*/ 2587925 w 5184476"/>
              <a:gd name="connsiteY24" fmla="*/ 3183147 h 3643222"/>
              <a:gd name="connsiteX25" fmla="*/ 2467155 w 5184476"/>
              <a:gd name="connsiteY25" fmla="*/ 2984740 h 3643222"/>
              <a:gd name="connsiteX26" fmla="*/ 2406770 w 5184476"/>
              <a:gd name="connsiteY26" fmla="*/ 2820838 h 3643222"/>
              <a:gd name="connsiteX27" fmla="*/ 2216989 w 5184476"/>
              <a:gd name="connsiteY27" fmla="*/ 2544793 h 3643222"/>
              <a:gd name="connsiteX28" fmla="*/ 2087593 w 5184476"/>
              <a:gd name="connsiteY28" fmla="*/ 2553419 h 3643222"/>
              <a:gd name="connsiteX29" fmla="*/ 1923691 w 5184476"/>
              <a:gd name="connsiteY29" fmla="*/ 2458528 h 3643222"/>
              <a:gd name="connsiteX30" fmla="*/ 1854680 w 5184476"/>
              <a:gd name="connsiteY30" fmla="*/ 2458528 h 3643222"/>
              <a:gd name="connsiteX31" fmla="*/ 1742536 w 5184476"/>
              <a:gd name="connsiteY31" fmla="*/ 2337759 h 3643222"/>
              <a:gd name="connsiteX32" fmla="*/ 1759789 w 5184476"/>
              <a:gd name="connsiteY32" fmla="*/ 2061713 h 3643222"/>
              <a:gd name="connsiteX33" fmla="*/ 1673525 w 5184476"/>
              <a:gd name="connsiteY33" fmla="*/ 1906438 h 3643222"/>
              <a:gd name="connsiteX34" fmla="*/ 1466491 w 5184476"/>
              <a:gd name="connsiteY34" fmla="*/ 1915064 h 3643222"/>
              <a:gd name="connsiteX35" fmla="*/ 1311216 w 5184476"/>
              <a:gd name="connsiteY35" fmla="*/ 1751162 h 3643222"/>
              <a:gd name="connsiteX36" fmla="*/ 1164567 w 5184476"/>
              <a:gd name="connsiteY36" fmla="*/ 1742536 h 3643222"/>
              <a:gd name="connsiteX37" fmla="*/ 1095555 w 5184476"/>
              <a:gd name="connsiteY37" fmla="*/ 1518249 h 3643222"/>
              <a:gd name="connsiteX38" fmla="*/ 974785 w 5184476"/>
              <a:gd name="connsiteY38" fmla="*/ 1475117 h 3643222"/>
              <a:gd name="connsiteX39" fmla="*/ 974785 w 5184476"/>
              <a:gd name="connsiteY39" fmla="*/ 1337094 h 3643222"/>
              <a:gd name="connsiteX40" fmla="*/ 948906 w 5184476"/>
              <a:gd name="connsiteY40" fmla="*/ 1224951 h 3643222"/>
              <a:gd name="connsiteX41" fmla="*/ 845389 w 5184476"/>
              <a:gd name="connsiteY41" fmla="*/ 1173193 h 3643222"/>
              <a:gd name="connsiteX42" fmla="*/ 793631 w 5184476"/>
              <a:gd name="connsiteY42" fmla="*/ 854015 h 3643222"/>
              <a:gd name="connsiteX43" fmla="*/ 741872 w 5184476"/>
              <a:gd name="connsiteY43" fmla="*/ 646981 h 3643222"/>
              <a:gd name="connsiteX44" fmla="*/ 741872 w 5184476"/>
              <a:gd name="connsiteY44" fmla="*/ 517585 h 3643222"/>
              <a:gd name="connsiteX45" fmla="*/ 733246 w 5184476"/>
              <a:gd name="connsiteY45" fmla="*/ 431321 h 3643222"/>
              <a:gd name="connsiteX46" fmla="*/ 612476 w 5184476"/>
              <a:gd name="connsiteY46" fmla="*/ 379562 h 3643222"/>
              <a:gd name="connsiteX47" fmla="*/ 517585 w 5184476"/>
              <a:gd name="connsiteY47" fmla="*/ 327804 h 3643222"/>
              <a:gd name="connsiteX48" fmla="*/ 405442 w 5184476"/>
              <a:gd name="connsiteY48" fmla="*/ 310551 h 3643222"/>
              <a:gd name="connsiteX49" fmla="*/ 267419 w 5184476"/>
              <a:gd name="connsiteY49" fmla="*/ 258793 h 3643222"/>
              <a:gd name="connsiteX50" fmla="*/ 120770 w 5184476"/>
              <a:gd name="connsiteY50" fmla="*/ 198408 h 3643222"/>
              <a:gd name="connsiteX51" fmla="*/ 51759 w 5184476"/>
              <a:gd name="connsiteY51" fmla="*/ 77638 h 3643222"/>
              <a:gd name="connsiteX52" fmla="*/ 40118 w 5184476"/>
              <a:gd name="connsiteY52" fmla="*/ 65438 h 3643222"/>
              <a:gd name="connsiteX53" fmla="*/ 0 w 5184476"/>
              <a:gd name="connsiteY53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8 w 5184476"/>
              <a:gd name="connsiteY6" fmla="*/ 3096883 h 3643222"/>
              <a:gd name="connsiteX7" fmla="*/ 4582029 w 5184476"/>
              <a:gd name="connsiteY7" fmla="*/ 3101419 h 3643222"/>
              <a:gd name="connsiteX8" fmla="*/ 4382219 w 5184476"/>
              <a:gd name="connsiteY8" fmla="*/ 3200400 h 3643222"/>
              <a:gd name="connsiteX9" fmla="*/ 4226944 w 5184476"/>
              <a:gd name="connsiteY9" fmla="*/ 3226279 h 3643222"/>
              <a:gd name="connsiteX10" fmla="*/ 4080295 w 5184476"/>
              <a:gd name="connsiteY10" fmla="*/ 3191774 h 3643222"/>
              <a:gd name="connsiteX11" fmla="*/ 3950899 w 5184476"/>
              <a:gd name="connsiteY11" fmla="*/ 3165894 h 3643222"/>
              <a:gd name="connsiteX12" fmla="*/ 3743865 w 5184476"/>
              <a:gd name="connsiteY12" fmla="*/ 3174521 h 3643222"/>
              <a:gd name="connsiteX13" fmla="*/ 3700733 w 5184476"/>
              <a:gd name="connsiteY13" fmla="*/ 3312544 h 3643222"/>
              <a:gd name="connsiteX14" fmla="*/ 3605842 w 5184476"/>
              <a:gd name="connsiteY14" fmla="*/ 3252159 h 3643222"/>
              <a:gd name="connsiteX15" fmla="*/ 3554084 w 5184476"/>
              <a:gd name="connsiteY15" fmla="*/ 3200400 h 3643222"/>
              <a:gd name="connsiteX16" fmla="*/ 3416061 w 5184476"/>
              <a:gd name="connsiteY16" fmla="*/ 3243532 h 3643222"/>
              <a:gd name="connsiteX17" fmla="*/ 3260785 w 5184476"/>
              <a:gd name="connsiteY17" fmla="*/ 3295291 h 3643222"/>
              <a:gd name="connsiteX18" fmla="*/ 3131389 w 5184476"/>
              <a:gd name="connsiteY18" fmla="*/ 3372928 h 3643222"/>
              <a:gd name="connsiteX19" fmla="*/ 3071004 w 5184476"/>
              <a:gd name="connsiteY19" fmla="*/ 3459193 h 3643222"/>
              <a:gd name="connsiteX20" fmla="*/ 2976114 w 5184476"/>
              <a:gd name="connsiteY20" fmla="*/ 3476445 h 3643222"/>
              <a:gd name="connsiteX21" fmla="*/ 2820838 w 5184476"/>
              <a:gd name="connsiteY21" fmla="*/ 3640347 h 3643222"/>
              <a:gd name="connsiteX22" fmla="*/ 2622431 w 5184476"/>
              <a:gd name="connsiteY22" fmla="*/ 3493698 h 3643222"/>
              <a:gd name="connsiteX23" fmla="*/ 2631057 w 5184476"/>
              <a:gd name="connsiteY23" fmla="*/ 3364302 h 3643222"/>
              <a:gd name="connsiteX24" fmla="*/ 2587925 w 5184476"/>
              <a:gd name="connsiteY24" fmla="*/ 3183147 h 3643222"/>
              <a:gd name="connsiteX25" fmla="*/ 2467155 w 5184476"/>
              <a:gd name="connsiteY25" fmla="*/ 2984740 h 3643222"/>
              <a:gd name="connsiteX26" fmla="*/ 2406770 w 5184476"/>
              <a:gd name="connsiteY26" fmla="*/ 2820838 h 3643222"/>
              <a:gd name="connsiteX27" fmla="*/ 2216989 w 5184476"/>
              <a:gd name="connsiteY27" fmla="*/ 2544793 h 3643222"/>
              <a:gd name="connsiteX28" fmla="*/ 2087593 w 5184476"/>
              <a:gd name="connsiteY28" fmla="*/ 2553419 h 3643222"/>
              <a:gd name="connsiteX29" fmla="*/ 1923691 w 5184476"/>
              <a:gd name="connsiteY29" fmla="*/ 2458528 h 3643222"/>
              <a:gd name="connsiteX30" fmla="*/ 1854680 w 5184476"/>
              <a:gd name="connsiteY30" fmla="*/ 2458528 h 3643222"/>
              <a:gd name="connsiteX31" fmla="*/ 1742536 w 5184476"/>
              <a:gd name="connsiteY31" fmla="*/ 2337759 h 3643222"/>
              <a:gd name="connsiteX32" fmla="*/ 1759789 w 5184476"/>
              <a:gd name="connsiteY32" fmla="*/ 2061713 h 3643222"/>
              <a:gd name="connsiteX33" fmla="*/ 1673525 w 5184476"/>
              <a:gd name="connsiteY33" fmla="*/ 1906438 h 3643222"/>
              <a:gd name="connsiteX34" fmla="*/ 1466491 w 5184476"/>
              <a:gd name="connsiteY34" fmla="*/ 1915064 h 3643222"/>
              <a:gd name="connsiteX35" fmla="*/ 1311216 w 5184476"/>
              <a:gd name="connsiteY35" fmla="*/ 1751162 h 3643222"/>
              <a:gd name="connsiteX36" fmla="*/ 1164567 w 5184476"/>
              <a:gd name="connsiteY36" fmla="*/ 1742536 h 3643222"/>
              <a:gd name="connsiteX37" fmla="*/ 1095555 w 5184476"/>
              <a:gd name="connsiteY37" fmla="*/ 1518249 h 3643222"/>
              <a:gd name="connsiteX38" fmla="*/ 974785 w 5184476"/>
              <a:gd name="connsiteY38" fmla="*/ 1475117 h 3643222"/>
              <a:gd name="connsiteX39" fmla="*/ 974785 w 5184476"/>
              <a:gd name="connsiteY39" fmla="*/ 1337094 h 3643222"/>
              <a:gd name="connsiteX40" fmla="*/ 948906 w 5184476"/>
              <a:gd name="connsiteY40" fmla="*/ 1224951 h 3643222"/>
              <a:gd name="connsiteX41" fmla="*/ 845389 w 5184476"/>
              <a:gd name="connsiteY41" fmla="*/ 1173193 h 3643222"/>
              <a:gd name="connsiteX42" fmla="*/ 793631 w 5184476"/>
              <a:gd name="connsiteY42" fmla="*/ 854015 h 3643222"/>
              <a:gd name="connsiteX43" fmla="*/ 741872 w 5184476"/>
              <a:gd name="connsiteY43" fmla="*/ 646981 h 3643222"/>
              <a:gd name="connsiteX44" fmla="*/ 741872 w 5184476"/>
              <a:gd name="connsiteY44" fmla="*/ 517585 h 3643222"/>
              <a:gd name="connsiteX45" fmla="*/ 733246 w 5184476"/>
              <a:gd name="connsiteY45" fmla="*/ 431321 h 3643222"/>
              <a:gd name="connsiteX46" fmla="*/ 612476 w 5184476"/>
              <a:gd name="connsiteY46" fmla="*/ 379562 h 3643222"/>
              <a:gd name="connsiteX47" fmla="*/ 517585 w 5184476"/>
              <a:gd name="connsiteY47" fmla="*/ 327804 h 3643222"/>
              <a:gd name="connsiteX48" fmla="*/ 405442 w 5184476"/>
              <a:gd name="connsiteY48" fmla="*/ 310551 h 3643222"/>
              <a:gd name="connsiteX49" fmla="*/ 267419 w 5184476"/>
              <a:gd name="connsiteY49" fmla="*/ 258793 h 3643222"/>
              <a:gd name="connsiteX50" fmla="*/ 120770 w 5184476"/>
              <a:gd name="connsiteY50" fmla="*/ 198408 h 3643222"/>
              <a:gd name="connsiteX51" fmla="*/ 51759 w 5184476"/>
              <a:gd name="connsiteY51" fmla="*/ 77638 h 3643222"/>
              <a:gd name="connsiteX52" fmla="*/ 40118 w 5184476"/>
              <a:gd name="connsiteY52" fmla="*/ 65438 h 3643222"/>
              <a:gd name="connsiteX53" fmla="*/ 0 w 5184476"/>
              <a:gd name="connsiteY53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5043978 w 5184476"/>
              <a:gd name="connsiteY2" fmla="*/ 2791032 h 3643222"/>
              <a:gd name="connsiteX3" fmla="*/ 4968816 w 5184476"/>
              <a:gd name="connsiteY3" fmla="*/ 2915728 h 3643222"/>
              <a:gd name="connsiteX4" fmla="*/ 4968816 w 5184476"/>
              <a:gd name="connsiteY4" fmla="*/ 3053751 h 3643222"/>
              <a:gd name="connsiteX5" fmla="*/ 4839419 w 5184476"/>
              <a:gd name="connsiteY5" fmla="*/ 3062377 h 3643222"/>
              <a:gd name="connsiteX6" fmla="*/ 4710023 w 5184476"/>
              <a:gd name="connsiteY6" fmla="*/ 3122762 h 3643222"/>
              <a:gd name="connsiteX7" fmla="*/ 4580628 w 5184476"/>
              <a:gd name="connsiteY7" fmla="*/ 3096883 h 3643222"/>
              <a:gd name="connsiteX8" fmla="*/ 4582029 w 5184476"/>
              <a:gd name="connsiteY8" fmla="*/ 3101419 h 3643222"/>
              <a:gd name="connsiteX9" fmla="*/ 4382219 w 5184476"/>
              <a:gd name="connsiteY9" fmla="*/ 3200400 h 3643222"/>
              <a:gd name="connsiteX10" fmla="*/ 4226944 w 5184476"/>
              <a:gd name="connsiteY10" fmla="*/ 3226279 h 3643222"/>
              <a:gd name="connsiteX11" fmla="*/ 4080295 w 5184476"/>
              <a:gd name="connsiteY11" fmla="*/ 3191774 h 3643222"/>
              <a:gd name="connsiteX12" fmla="*/ 3950899 w 5184476"/>
              <a:gd name="connsiteY12" fmla="*/ 3165894 h 3643222"/>
              <a:gd name="connsiteX13" fmla="*/ 3743865 w 5184476"/>
              <a:gd name="connsiteY13" fmla="*/ 3174521 h 3643222"/>
              <a:gd name="connsiteX14" fmla="*/ 3700733 w 5184476"/>
              <a:gd name="connsiteY14" fmla="*/ 3312544 h 3643222"/>
              <a:gd name="connsiteX15" fmla="*/ 3605842 w 5184476"/>
              <a:gd name="connsiteY15" fmla="*/ 3252159 h 3643222"/>
              <a:gd name="connsiteX16" fmla="*/ 3554084 w 5184476"/>
              <a:gd name="connsiteY16" fmla="*/ 3200400 h 3643222"/>
              <a:gd name="connsiteX17" fmla="*/ 3416061 w 5184476"/>
              <a:gd name="connsiteY17" fmla="*/ 3243532 h 3643222"/>
              <a:gd name="connsiteX18" fmla="*/ 3260785 w 5184476"/>
              <a:gd name="connsiteY18" fmla="*/ 3295291 h 3643222"/>
              <a:gd name="connsiteX19" fmla="*/ 3131389 w 5184476"/>
              <a:gd name="connsiteY19" fmla="*/ 3372928 h 3643222"/>
              <a:gd name="connsiteX20" fmla="*/ 3071004 w 5184476"/>
              <a:gd name="connsiteY20" fmla="*/ 3459193 h 3643222"/>
              <a:gd name="connsiteX21" fmla="*/ 2976114 w 5184476"/>
              <a:gd name="connsiteY21" fmla="*/ 3476445 h 3643222"/>
              <a:gd name="connsiteX22" fmla="*/ 2820838 w 5184476"/>
              <a:gd name="connsiteY22" fmla="*/ 3640347 h 3643222"/>
              <a:gd name="connsiteX23" fmla="*/ 2622431 w 5184476"/>
              <a:gd name="connsiteY23" fmla="*/ 3493698 h 3643222"/>
              <a:gd name="connsiteX24" fmla="*/ 2631057 w 5184476"/>
              <a:gd name="connsiteY24" fmla="*/ 3364302 h 3643222"/>
              <a:gd name="connsiteX25" fmla="*/ 2587925 w 5184476"/>
              <a:gd name="connsiteY25" fmla="*/ 3183147 h 3643222"/>
              <a:gd name="connsiteX26" fmla="*/ 2467155 w 5184476"/>
              <a:gd name="connsiteY26" fmla="*/ 2984740 h 3643222"/>
              <a:gd name="connsiteX27" fmla="*/ 2406770 w 5184476"/>
              <a:gd name="connsiteY27" fmla="*/ 2820838 h 3643222"/>
              <a:gd name="connsiteX28" fmla="*/ 2216989 w 5184476"/>
              <a:gd name="connsiteY28" fmla="*/ 2544793 h 3643222"/>
              <a:gd name="connsiteX29" fmla="*/ 2087593 w 5184476"/>
              <a:gd name="connsiteY29" fmla="*/ 2553419 h 3643222"/>
              <a:gd name="connsiteX30" fmla="*/ 1923691 w 5184476"/>
              <a:gd name="connsiteY30" fmla="*/ 2458528 h 3643222"/>
              <a:gd name="connsiteX31" fmla="*/ 1854680 w 5184476"/>
              <a:gd name="connsiteY31" fmla="*/ 2458528 h 3643222"/>
              <a:gd name="connsiteX32" fmla="*/ 1742536 w 5184476"/>
              <a:gd name="connsiteY32" fmla="*/ 2337759 h 3643222"/>
              <a:gd name="connsiteX33" fmla="*/ 1759789 w 5184476"/>
              <a:gd name="connsiteY33" fmla="*/ 2061713 h 3643222"/>
              <a:gd name="connsiteX34" fmla="*/ 1673525 w 5184476"/>
              <a:gd name="connsiteY34" fmla="*/ 1906438 h 3643222"/>
              <a:gd name="connsiteX35" fmla="*/ 1466491 w 5184476"/>
              <a:gd name="connsiteY35" fmla="*/ 1915064 h 3643222"/>
              <a:gd name="connsiteX36" fmla="*/ 1311216 w 5184476"/>
              <a:gd name="connsiteY36" fmla="*/ 1751162 h 3643222"/>
              <a:gd name="connsiteX37" fmla="*/ 1164567 w 5184476"/>
              <a:gd name="connsiteY37" fmla="*/ 1742536 h 3643222"/>
              <a:gd name="connsiteX38" fmla="*/ 1095555 w 5184476"/>
              <a:gd name="connsiteY38" fmla="*/ 1518249 h 3643222"/>
              <a:gd name="connsiteX39" fmla="*/ 974785 w 5184476"/>
              <a:gd name="connsiteY39" fmla="*/ 1475117 h 3643222"/>
              <a:gd name="connsiteX40" fmla="*/ 974785 w 5184476"/>
              <a:gd name="connsiteY40" fmla="*/ 1337094 h 3643222"/>
              <a:gd name="connsiteX41" fmla="*/ 948906 w 5184476"/>
              <a:gd name="connsiteY41" fmla="*/ 1224951 h 3643222"/>
              <a:gd name="connsiteX42" fmla="*/ 845389 w 5184476"/>
              <a:gd name="connsiteY42" fmla="*/ 1173193 h 3643222"/>
              <a:gd name="connsiteX43" fmla="*/ 793631 w 5184476"/>
              <a:gd name="connsiteY43" fmla="*/ 854015 h 3643222"/>
              <a:gd name="connsiteX44" fmla="*/ 741872 w 5184476"/>
              <a:gd name="connsiteY44" fmla="*/ 646981 h 3643222"/>
              <a:gd name="connsiteX45" fmla="*/ 741872 w 5184476"/>
              <a:gd name="connsiteY45" fmla="*/ 517585 h 3643222"/>
              <a:gd name="connsiteX46" fmla="*/ 733246 w 5184476"/>
              <a:gd name="connsiteY46" fmla="*/ 431321 h 3643222"/>
              <a:gd name="connsiteX47" fmla="*/ 612476 w 5184476"/>
              <a:gd name="connsiteY47" fmla="*/ 379562 h 3643222"/>
              <a:gd name="connsiteX48" fmla="*/ 517585 w 5184476"/>
              <a:gd name="connsiteY48" fmla="*/ 327804 h 3643222"/>
              <a:gd name="connsiteX49" fmla="*/ 405442 w 5184476"/>
              <a:gd name="connsiteY49" fmla="*/ 310551 h 3643222"/>
              <a:gd name="connsiteX50" fmla="*/ 267419 w 5184476"/>
              <a:gd name="connsiteY50" fmla="*/ 258793 h 3643222"/>
              <a:gd name="connsiteX51" fmla="*/ 120770 w 5184476"/>
              <a:gd name="connsiteY51" fmla="*/ 198408 h 3643222"/>
              <a:gd name="connsiteX52" fmla="*/ 51759 w 5184476"/>
              <a:gd name="connsiteY52" fmla="*/ 77638 h 3643222"/>
              <a:gd name="connsiteX53" fmla="*/ 40118 w 5184476"/>
              <a:gd name="connsiteY53" fmla="*/ 65438 h 3643222"/>
              <a:gd name="connsiteX54" fmla="*/ 0 w 5184476"/>
              <a:gd name="connsiteY54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5043978 w 5184476"/>
              <a:gd name="connsiteY2" fmla="*/ 2791032 h 3643222"/>
              <a:gd name="connsiteX3" fmla="*/ 4968816 w 5184476"/>
              <a:gd name="connsiteY3" fmla="*/ 2915728 h 3643222"/>
              <a:gd name="connsiteX4" fmla="*/ 4968816 w 5184476"/>
              <a:gd name="connsiteY4" fmla="*/ 3053751 h 3643222"/>
              <a:gd name="connsiteX5" fmla="*/ 4839419 w 5184476"/>
              <a:gd name="connsiteY5" fmla="*/ 3062377 h 3643222"/>
              <a:gd name="connsiteX6" fmla="*/ 4710023 w 5184476"/>
              <a:gd name="connsiteY6" fmla="*/ 3122762 h 3643222"/>
              <a:gd name="connsiteX7" fmla="*/ 4580628 w 5184476"/>
              <a:gd name="connsiteY7" fmla="*/ 3096883 h 3643222"/>
              <a:gd name="connsiteX8" fmla="*/ 4382219 w 5184476"/>
              <a:gd name="connsiteY8" fmla="*/ 3200400 h 3643222"/>
              <a:gd name="connsiteX9" fmla="*/ 4226944 w 5184476"/>
              <a:gd name="connsiteY9" fmla="*/ 3226279 h 3643222"/>
              <a:gd name="connsiteX10" fmla="*/ 4080295 w 5184476"/>
              <a:gd name="connsiteY10" fmla="*/ 3191774 h 3643222"/>
              <a:gd name="connsiteX11" fmla="*/ 3950899 w 5184476"/>
              <a:gd name="connsiteY11" fmla="*/ 3165894 h 3643222"/>
              <a:gd name="connsiteX12" fmla="*/ 3743865 w 5184476"/>
              <a:gd name="connsiteY12" fmla="*/ 3174521 h 3643222"/>
              <a:gd name="connsiteX13" fmla="*/ 3700733 w 5184476"/>
              <a:gd name="connsiteY13" fmla="*/ 3312544 h 3643222"/>
              <a:gd name="connsiteX14" fmla="*/ 3605842 w 5184476"/>
              <a:gd name="connsiteY14" fmla="*/ 3252159 h 3643222"/>
              <a:gd name="connsiteX15" fmla="*/ 3554084 w 5184476"/>
              <a:gd name="connsiteY15" fmla="*/ 3200400 h 3643222"/>
              <a:gd name="connsiteX16" fmla="*/ 3416061 w 5184476"/>
              <a:gd name="connsiteY16" fmla="*/ 3243532 h 3643222"/>
              <a:gd name="connsiteX17" fmla="*/ 3260785 w 5184476"/>
              <a:gd name="connsiteY17" fmla="*/ 3295291 h 3643222"/>
              <a:gd name="connsiteX18" fmla="*/ 3131389 w 5184476"/>
              <a:gd name="connsiteY18" fmla="*/ 3372928 h 3643222"/>
              <a:gd name="connsiteX19" fmla="*/ 3071004 w 5184476"/>
              <a:gd name="connsiteY19" fmla="*/ 3459193 h 3643222"/>
              <a:gd name="connsiteX20" fmla="*/ 2976114 w 5184476"/>
              <a:gd name="connsiteY20" fmla="*/ 3476445 h 3643222"/>
              <a:gd name="connsiteX21" fmla="*/ 2820838 w 5184476"/>
              <a:gd name="connsiteY21" fmla="*/ 3640347 h 3643222"/>
              <a:gd name="connsiteX22" fmla="*/ 2622431 w 5184476"/>
              <a:gd name="connsiteY22" fmla="*/ 3493698 h 3643222"/>
              <a:gd name="connsiteX23" fmla="*/ 2631057 w 5184476"/>
              <a:gd name="connsiteY23" fmla="*/ 3364302 h 3643222"/>
              <a:gd name="connsiteX24" fmla="*/ 2587925 w 5184476"/>
              <a:gd name="connsiteY24" fmla="*/ 3183147 h 3643222"/>
              <a:gd name="connsiteX25" fmla="*/ 2467155 w 5184476"/>
              <a:gd name="connsiteY25" fmla="*/ 2984740 h 3643222"/>
              <a:gd name="connsiteX26" fmla="*/ 2406770 w 5184476"/>
              <a:gd name="connsiteY26" fmla="*/ 2820838 h 3643222"/>
              <a:gd name="connsiteX27" fmla="*/ 2216989 w 5184476"/>
              <a:gd name="connsiteY27" fmla="*/ 2544793 h 3643222"/>
              <a:gd name="connsiteX28" fmla="*/ 2087593 w 5184476"/>
              <a:gd name="connsiteY28" fmla="*/ 2553419 h 3643222"/>
              <a:gd name="connsiteX29" fmla="*/ 1923691 w 5184476"/>
              <a:gd name="connsiteY29" fmla="*/ 2458528 h 3643222"/>
              <a:gd name="connsiteX30" fmla="*/ 1854680 w 5184476"/>
              <a:gd name="connsiteY30" fmla="*/ 2458528 h 3643222"/>
              <a:gd name="connsiteX31" fmla="*/ 1742536 w 5184476"/>
              <a:gd name="connsiteY31" fmla="*/ 2337759 h 3643222"/>
              <a:gd name="connsiteX32" fmla="*/ 1759789 w 5184476"/>
              <a:gd name="connsiteY32" fmla="*/ 2061713 h 3643222"/>
              <a:gd name="connsiteX33" fmla="*/ 1673525 w 5184476"/>
              <a:gd name="connsiteY33" fmla="*/ 1906438 h 3643222"/>
              <a:gd name="connsiteX34" fmla="*/ 1466491 w 5184476"/>
              <a:gd name="connsiteY34" fmla="*/ 1915064 h 3643222"/>
              <a:gd name="connsiteX35" fmla="*/ 1311216 w 5184476"/>
              <a:gd name="connsiteY35" fmla="*/ 1751162 h 3643222"/>
              <a:gd name="connsiteX36" fmla="*/ 1164567 w 5184476"/>
              <a:gd name="connsiteY36" fmla="*/ 1742536 h 3643222"/>
              <a:gd name="connsiteX37" fmla="*/ 1095555 w 5184476"/>
              <a:gd name="connsiteY37" fmla="*/ 1518249 h 3643222"/>
              <a:gd name="connsiteX38" fmla="*/ 974785 w 5184476"/>
              <a:gd name="connsiteY38" fmla="*/ 1475117 h 3643222"/>
              <a:gd name="connsiteX39" fmla="*/ 974785 w 5184476"/>
              <a:gd name="connsiteY39" fmla="*/ 1337094 h 3643222"/>
              <a:gd name="connsiteX40" fmla="*/ 948906 w 5184476"/>
              <a:gd name="connsiteY40" fmla="*/ 1224951 h 3643222"/>
              <a:gd name="connsiteX41" fmla="*/ 845389 w 5184476"/>
              <a:gd name="connsiteY41" fmla="*/ 1173193 h 3643222"/>
              <a:gd name="connsiteX42" fmla="*/ 793631 w 5184476"/>
              <a:gd name="connsiteY42" fmla="*/ 854015 h 3643222"/>
              <a:gd name="connsiteX43" fmla="*/ 741872 w 5184476"/>
              <a:gd name="connsiteY43" fmla="*/ 646981 h 3643222"/>
              <a:gd name="connsiteX44" fmla="*/ 741872 w 5184476"/>
              <a:gd name="connsiteY44" fmla="*/ 517585 h 3643222"/>
              <a:gd name="connsiteX45" fmla="*/ 733246 w 5184476"/>
              <a:gd name="connsiteY45" fmla="*/ 431321 h 3643222"/>
              <a:gd name="connsiteX46" fmla="*/ 612476 w 5184476"/>
              <a:gd name="connsiteY46" fmla="*/ 379562 h 3643222"/>
              <a:gd name="connsiteX47" fmla="*/ 517585 w 5184476"/>
              <a:gd name="connsiteY47" fmla="*/ 327804 h 3643222"/>
              <a:gd name="connsiteX48" fmla="*/ 405442 w 5184476"/>
              <a:gd name="connsiteY48" fmla="*/ 310551 h 3643222"/>
              <a:gd name="connsiteX49" fmla="*/ 267419 w 5184476"/>
              <a:gd name="connsiteY49" fmla="*/ 258793 h 3643222"/>
              <a:gd name="connsiteX50" fmla="*/ 120770 w 5184476"/>
              <a:gd name="connsiteY50" fmla="*/ 198408 h 3643222"/>
              <a:gd name="connsiteX51" fmla="*/ 51759 w 5184476"/>
              <a:gd name="connsiteY51" fmla="*/ 77638 h 3643222"/>
              <a:gd name="connsiteX52" fmla="*/ 40118 w 5184476"/>
              <a:gd name="connsiteY52" fmla="*/ 65438 h 3643222"/>
              <a:gd name="connsiteX53" fmla="*/ 0 w 5184476"/>
              <a:gd name="connsiteY53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8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9414"/>
              <a:gd name="connsiteY0" fmla="*/ 2743200 h 3643222"/>
              <a:gd name="connsiteX1" fmla="*/ 5167848 w 5189414"/>
              <a:gd name="connsiteY1" fmla="*/ 2747508 h 3643222"/>
              <a:gd name="connsiteX2" fmla="*/ 5055080 w 5189414"/>
              <a:gd name="connsiteY2" fmla="*/ 2794959 h 3643222"/>
              <a:gd name="connsiteX3" fmla="*/ 4968816 w 5189414"/>
              <a:gd name="connsiteY3" fmla="*/ 2915728 h 3643222"/>
              <a:gd name="connsiteX4" fmla="*/ 4968816 w 5189414"/>
              <a:gd name="connsiteY4" fmla="*/ 3053751 h 3643222"/>
              <a:gd name="connsiteX5" fmla="*/ 4839419 w 5189414"/>
              <a:gd name="connsiteY5" fmla="*/ 3062377 h 3643222"/>
              <a:gd name="connsiteX6" fmla="*/ 4710023 w 5189414"/>
              <a:gd name="connsiteY6" fmla="*/ 3122762 h 3643222"/>
              <a:gd name="connsiteX7" fmla="*/ 4580628 w 5189414"/>
              <a:gd name="connsiteY7" fmla="*/ 3096883 h 3643222"/>
              <a:gd name="connsiteX8" fmla="*/ 4382219 w 5189414"/>
              <a:gd name="connsiteY8" fmla="*/ 3200400 h 3643222"/>
              <a:gd name="connsiteX9" fmla="*/ 4226944 w 5189414"/>
              <a:gd name="connsiteY9" fmla="*/ 3226279 h 3643222"/>
              <a:gd name="connsiteX10" fmla="*/ 4080295 w 5189414"/>
              <a:gd name="connsiteY10" fmla="*/ 3191774 h 3643222"/>
              <a:gd name="connsiteX11" fmla="*/ 3950899 w 5189414"/>
              <a:gd name="connsiteY11" fmla="*/ 3165894 h 3643222"/>
              <a:gd name="connsiteX12" fmla="*/ 3743865 w 5189414"/>
              <a:gd name="connsiteY12" fmla="*/ 3174521 h 3643222"/>
              <a:gd name="connsiteX13" fmla="*/ 3700733 w 5189414"/>
              <a:gd name="connsiteY13" fmla="*/ 3312544 h 3643222"/>
              <a:gd name="connsiteX14" fmla="*/ 3605842 w 5189414"/>
              <a:gd name="connsiteY14" fmla="*/ 3252159 h 3643222"/>
              <a:gd name="connsiteX15" fmla="*/ 3554084 w 5189414"/>
              <a:gd name="connsiteY15" fmla="*/ 3200400 h 3643222"/>
              <a:gd name="connsiteX16" fmla="*/ 3416061 w 5189414"/>
              <a:gd name="connsiteY16" fmla="*/ 3243532 h 3643222"/>
              <a:gd name="connsiteX17" fmla="*/ 3260785 w 5189414"/>
              <a:gd name="connsiteY17" fmla="*/ 3295291 h 3643222"/>
              <a:gd name="connsiteX18" fmla="*/ 3131389 w 5189414"/>
              <a:gd name="connsiteY18" fmla="*/ 3372928 h 3643222"/>
              <a:gd name="connsiteX19" fmla="*/ 3071004 w 5189414"/>
              <a:gd name="connsiteY19" fmla="*/ 3459193 h 3643222"/>
              <a:gd name="connsiteX20" fmla="*/ 2976114 w 5189414"/>
              <a:gd name="connsiteY20" fmla="*/ 3476445 h 3643222"/>
              <a:gd name="connsiteX21" fmla="*/ 2820838 w 5189414"/>
              <a:gd name="connsiteY21" fmla="*/ 3640347 h 3643222"/>
              <a:gd name="connsiteX22" fmla="*/ 2622431 w 5189414"/>
              <a:gd name="connsiteY22" fmla="*/ 3493698 h 3643222"/>
              <a:gd name="connsiteX23" fmla="*/ 2631057 w 5189414"/>
              <a:gd name="connsiteY23" fmla="*/ 3364302 h 3643222"/>
              <a:gd name="connsiteX24" fmla="*/ 2587925 w 5189414"/>
              <a:gd name="connsiteY24" fmla="*/ 3183147 h 3643222"/>
              <a:gd name="connsiteX25" fmla="*/ 2467155 w 5189414"/>
              <a:gd name="connsiteY25" fmla="*/ 2984740 h 3643222"/>
              <a:gd name="connsiteX26" fmla="*/ 2406770 w 5189414"/>
              <a:gd name="connsiteY26" fmla="*/ 2820838 h 3643222"/>
              <a:gd name="connsiteX27" fmla="*/ 2216989 w 5189414"/>
              <a:gd name="connsiteY27" fmla="*/ 2544793 h 3643222"/>
              <a:gd name="connsiteX28" fmla="*/ 2087593 w 5189414"/>
              <a:gd name="connsiteY28" fmla="*/ 2553419 h 3643222"/>
              <a:gd name="connsiteX29" fmla="*/ 1923691 w 5189414"/>
              <a:gd name="connsiteY29" fmla="*/ 2458528 h 3643222"/>
              <a:gd name="connsiteX30" fmla="*/ 1854680 w 5189414"/>
              <a:gd name="connsiteY30" fmla="*/ 2458528 h 3643222"/>
              <a:gd name="connsiteX31" fmla="*/ 1742536 w 5189414"/>
              <a:gd name="connsiteY31" fmla="*/ 2337759 h 3643222"/>
              <a:gd name="connsiteX32" fmla="*/ 1759789 w 5189414"/>
              <a:gd name="connsiteY32" fmla="*/ 2061713 h 3643222"/>
              <a:gd name="connsiteX33" fmla="*/ 1673525 w 5189414"/>
              <a:gd name="connsiteY33" fmla="*/ 1906438 h 3643222"/>
              <a:gd name="connsiteX34" fmla="*/ 1466491 w 5189414"/>
              <a:gd name="connsiteY34" fmla="*/ 1915064 h 3643222"/>
              <a:gd name="connsiteX35" fmla="*/ 1311216 w 5189414"/>
              <a:gd name="connsiteY35" fmla="*/ 1751162 h 3643222"/>
              <a:gd name="connsiteX36" fmla="*/ 1164567 w 5189414"/>
              <a:gd name="connsiteY36" fmla="*/ 1742536 h 3643222"/>
              <a:gd name="connsiteX37" fmla="*/ 1095555 w 5189414"/>
              <a:gd name="connsiteY37" fmla="*/ 1518249 h 3643222"/>
              <a:gd name="connsiteX38" fmla="*/ 974785 w 5189414"/>
              <a:gd name="connsiteY38" fmla="*/ 1475117 h 3643222"/>
              <a:gd name="connsiteX39" fmla="*/ 974785 w 5189414"/>
              <a:gd name="connsiteY39" fmla="*/ 1337094 h 3643222"/>
              <a:gd name="connsiteX40" fmla="*/ 948906 w 5189414"/>
              <a:gd name="connsiteY40" fmla="*/ 1224951 h 3643222"/>
              <a:gd name="connsiteX41" fmla="*/ 845389 w 5189414"/>
              <a:gd name="connsiteY41" fmla="*/ 1173193 h 3643222"/>
              <a:gd name="connsiteX42" fmla="*/ 793631 w 5189414"/>
              <a:gd name="connsiteY42" fmla="*/ 854015 h 3643222"/>
              <a:gd name="connsiteX43" fmla="*/ 741872 w 5189414"/>
              <a:gd name="connsiteY43" fmla="*/ 646981 h 3643222"/>
              <a:gd name="connsiteX44" fmla="*/ 741872 w 5189414"/>
              <a:gd name="connsiteY44" fmla="*/ 517585 h 3643222"/>
              <a:gd name="connsiteX45" fmla="*/ 733246 w 5189414"/>
              <a:gd name="connsiteY45" fmla="*/ 431321 h 3643222"/>
              <a:gd name="connsiteX46" fmla="*/ 612476 w 5189414"/>
              <a:gd name="connsiteY46" fmla="*/ 379562 h 3643222"/>
              <a:gd name="connsiteX47" fmla="*/ 517585 w 5189414"/>
              <a:gd name="connsiteY47" fmla="*/ 327804 h 3643222"/>
              <a:gd name="connsiteX48" fmla="*/ 405442 w 5189414"/>
              <a:gd name="connsiteY48" fmla="*/ 310551 h 3643222"/>
              <a:gd name="connsiteX49" fmla="*/ 267419 w 5189414"/>
              <a:gd name="connsiteY49" fmla="*/ 258793 h 3643222"/>
              <a:gd name="connsiteX50" fmla="*/ 120770 w 5189414"/>
              <a:gd name="connsiteY50" fmla="*/ 198408 h 3643222"/>
              <a:gd name="connsiteX51" fmla="*/ 51759 w 5189414"/>
              <a:gd name="connsiteY51" fmla="*/ 77638 h 3643222"/>
              <a:gd name="connsiteX52" fmla="*/ 40118 w 5189414"/>
              <a:gd name="connsiteY52" fmla="*/ 65438 h 3643222"/>
              <a:gd name="connsiteX53" fmla="*/ 0 w 5189414"/>
              <a:gd name="connsiteY53" fmla="*/ 0 h 3643222"/>
              <a:gd name="connsiteX0" fmla="*/ 5184476 w 5184476"/>
              <a:gd name="connsiteY0" fmla="*/ 2743200 h 3643222"/>
              <a:gd name="connsiteX1" fmla="*/ 5055080 w 5184476"/>
              <a:gd name="connsiteY1" fmla="*/ 2794959 h 3643222"/>
              <a:gd name="connsiteX2" fmla="*/ 4968816 w 5184476"/>
              <a:gd name="connsiteY2" fmla="*/ 2915728 h 3643222"/>
              <a:gd name="connsiteX3" fmla="*/ 4968816 w 5184476"/>
              <a:gd name="connsiteY3" fmla="*/ 3053751 h 3643222"/>
              <a:gd name="connsiteX4" fmla="*/ 4839419 w 5184476"/>
              <a:gd name="connsiteY4" fmla="*/ 3062377 h 3643222"/>
              <a:gd name="connsiteX5" fmla="*/ 4710023 w 5184476"/>
              <a:gd name="connsiteY5" fmla="*/ 3122762 h 3643222"/>
              <a:gd name="connsiteX6" fmla="*/ 4580628 w 5184476"/>
              <a:gd name="connsiteY6" fmla="*/ 3096883 h 3643222"/>
              <a:gd name="connsiteX7" fmla="*/ 4382219 w 5184476"/>
              <a:gd name="connsiteY7" fmla="*/ 3200400 h 3643222"/>
              <a:gd name="connsiteX8" fmla="*/ 4226944 w 5184476"/>
              <a:gd name="connsiteY8" fmla="*/ 3226279 h 3643222"/>
              <a:gd name="connsiteX9" fmla="*/ 4080295 w 5184476"/>
              <a:gd name="connsiteY9" fmla="*/ 3191774 h 3643222"/>
              <a:gd name="connsiteX10" fmla="*/ 3950899 w 5184476"/>
              <a:gd name="connsiteY10" fmla="*/ 3165894 h 3643222"/>
              <a:gd name="connsiteX11" fmla="*/ 3743865 w 5184476"/>
              <a:gd name="connsiteY11" fmla="*/ 3174521 h 3643222"/>
              <a:gd name="connsiteX12" fmla="*/ 3700733 w 5184476"/>
              <a:gd name="connsiteY12" fmla="*/ 3312544 h 3643222"/>
              <a:gd name="connsiteX13" fmla="*/ 3605842 w 5184476"/>
              <a:gd name="connsiteY13" fmla="*/ 3252159 h 3643222"/>
              <a:gd name="connsiteX14" fmla="*/ 3554084 w 5184476"/>
              <a:gd name="connsiteY14" fmla="*/ 3200400 h 3643222"/>
              <a:gd name="connsiteX15" fmla="*/ 3416061 w 5184476"/>
              <a:gd name="connsiteY15" fmla="*/ 3243532 h 3643222"/>
              <a:gd name="connsiteX16" fmla="*/ 3260785 w 5184476"/>
              <a:gd name="connsiteY16" fmla="*/ 3295291 h 3643222"/>
              <a:gd name="connsiteX17" fmla="*/ 3131389 w 5184476"/>
              <a:gd name="connsiteY17" fmla="*/ 3372928 h 3643222"/>
              <a:gd name="connsiteX18" fmla="*/ 3071004 w 5184476"/>
              <a:gd name="connsiteY18" fmla="*/ 3459193 h 3643222"/>
              <a:gd name="connsiteX19" fmla="*/ 2976114 w 5184476"/>
              <a:gd name="connsiteY19" fmla="*/ 3476445 h 3643222"/>
              <a:gd name="connsiteX20" fmla="*/ 2820838 w 5184476"/>
              <a:gd name="connsiteY20" fmla="*/ 3640347 h 3643222"/>
              <a:gd name="connsiteX21" fmla="*/ 2622431 w 5184476"/>
              <a:gd name="connsiteY21" fmla="*/ 3493698 h 3643222"/>
              <a:gd name="connsiteX22" fmla="*/ 2631057 w 5184476"/>
              <a:gd name="connsiteY22" fmla="*/ 3364302 h 3643222"/>
              <a:gd name="connsiteX23" fmla="*/ 2587925 w 5184476"/>
              <a:gd name="connsiteY23" fmla="*/ 3183147 h 3643222"/>
              <a:gd name="connsiteX24" fmla="*/ 2467155 w 5184476"/>
              <a:gd name="connsiteY24" fmla="*/ 2984740 h 3643222"/>
              <a:gd name="connsiteX25" fmla="*/ 2406770 w 5184476"/>
              <a:gd name="connsiteY25" fmla="*/ 2820838 h 3643222"/>
              <a:gd name="connsiteX26" fmla="*/ 2216989 w 5184476"/>
              <a:gd name="connsiteY26" fmla="*/ 2544793 h 3643222"/>
              <a:gd name="connsiteX27" fmla="*/ 2087593 w 5184476"/>
              <a:gd name="connsiteY27" fmla="*/ 2553419 h 3643222"/>
              <a:gd name="connsiteX28" fmla="*/ 1923691 w 5184476"/>
              <a:gd name="connsiteY28" fmla="*/ 2458528 h 3643222"/>
              <a:gd name="connsiteX29" fmla="*/ 1854680 w 5184476"/>
              <a:gd name="connsiteY29" fmla="*/ 2458528 h 3643222"/>
              <a:gd name="connsiteX30" fmla="*/ 1742536 w 5184476"/>
              <a:gd name="connsiteY30" fmla="*/ 2337759 h 3643222"/>
              <a:gd name="connsiteX31" fmla="*/ 1759789 w 5184476"/>
              <a:gd name="connsiteY31" fmla="*/ 2061713 h 3643222"/>
              <a:gd name="connsiteX32" fmla="*/ 1673525 w 5184476"/>
              <a:gd name="connsiteY32" fmla="*/ 1906438 h 3643222"/>
              <a:gd name="connsiteX33" fmla="*/ 1466491 w 5184476"/>
              <a:gd name="connsiteY33" fmla="*/ 1915064 h 3643222"/>
              <a:gd name="connsiteX34" fmla="*/ 1311216 w 5184476"/>
              <a:gd name="connsiteY34" fmla="*/ 1751162 h 3643222"/>
              <a:gd name="connsiteX35" fmla="*/ 1164567 w 5184476"/>
              <a:gd name="connsiteY35" fmla="*/ 1742536 h 3643222"/>
              <a:gd name="connsiteX36" fmla="*/ 1095555 w 5184476"/>
              <a:gd name="connsiteY36" fmla="*/ 1518249 h 3643222"/>
              <a:gd name="connsiteX37" fmla="*/ 974785 w 5184476"/>
              <a:gd name="connsiteY37" fmla="*/ 1475117 h 3643222"/>
              <a:gd name="connsiteX38" fmla="*/ 974785 w 5184476"/>
              <a:gd name="connsiteY38" fmla="*/ 1337094 h 3643222"/>
              <a:gd name="connsiteX39" fmla="*/ 948906 w 5184476"/>
              <a:gd name="connsiteY39" fmla="*/ 1224951 h 3643222"/>
              <a:gd name="connsiteX40" fmla="*/ 845389 w 5184476"/>
              <a:gd name="connsiteY40" fmla="*/ 1173193 h 3643222"/>
              <a:gd name="connsiteX41" fmla="*/ 793631 w 5184476"/>
              <a:gd name="connsiteY41" fmla="*/ 854015 h 3643222"/>
              <a:gd name="connsiteX42" fmla="*/ 741872 w 5184476"/>
              <a:gd name="connsiteY42" fmla="*/ 646981 h 3643222"/>
              <a:gd name="connsiteX43" fmla="*/ 741872 w 5184476"/>
              <a:gd name="connsiteY43" fmla="*/ 517585 h 3643222"/>
              <a:gd name="connsiteX44" fmla="*/ 733246 w 5184476"/>
              <a:gd name="connsiteY44" fmla="*/ 431321 h 3643222"/>
              <a:gd name="connsiteX45" fmla="*/ 612476 w 5184476"/>
              <a:gd name="connsiteY45" fmla="*/ 379562 h 3643222"/>
              <a:gd name="connsiteX46" fmla="*/ 517585 w 5184476"/>
              <a:gd name="connsiteY46" fmla="*/ 327804 h 3643222"/>
              <a:gd name="connsiteX47" fmla="*/ 405442 w 5184476"/>
              <a:gd name="connsiteY47" fmla="*/ 310551 h 3643222"/>
              <a:gd name="connsiteX48" fmla="*/ 267419 w 5184476"/>
              <a:gd name="connsiteY48" fmla="*/ 258793 h 3643222"/>
              <a:gd name="connsiteX49" fmla="*/ 120770 w 5184476"/>
              <a:gd name="connsiteY49" fmla="*/ 198408 h 3643222"/>
              <a:gd name="connsiteX50" fmla="*/ 51759 w 5184476"/>
              <a:gd name="connsiteY50" fmla="*/ 77638 h 3643222"/>
              <a:gd name="connsiteX51" fmla="*/ 40118 w 5184476"/>
              <a:gd name="connsiteY51" fmla="*/ 65438 h 3643222"/>
              <a:gd name="connsiteX52" fmla="*/ 0 w 5184476"/>
              <a:gd name="connsiteY52" fmla="*/ 0 h 3643222"/>
              <a:gd name="connsiteX0" fmla="*/ 5184476 w 5184476"/>
              <a:gd name="connsiteY0" fmla="*/ 2743200 h 3643222"/>
              <a:gd name="connsiteX1" fmla="*/ 4968816 w 5184476"/>
              <a:gd name="connsiteY1" fmla="*/ 2915728 h 3643222"/>
              <a:gd name="connsiteX2" fmla="*/ 4968816 w 5184476"/>
              <a:gd name="connsiteY2" fmla="*/ 3053751 h 3643222"/>
              <a:gd name="connsiteX3" fmla="*/ 4839419 w 5184476"/>
              <a:gd name="connsiteY3" fmla="*/ 3062377 h 3643222"/>
              <a:gd name="connsiteX4" fmla="*/ 4710023 w 5184476"/>
              <a:gd name="connsiteY4" fmla="*/ 3122762 h 3643222"/>
              <a:gd name="connsiteX5" fmla="*/ 4580628 w 5184476"/>
              <a:gd name="connsiteY5" fmla="*/ 3096883 h 3643222"/>
              <a:gd name="connsiteX6" fmla="*/ 4382219 w 5184476"/>
              <a:gd name="connsiteY6" fmla="*/ 3200400 h 3643222"/>
              <a:gd name="connsiteX7" fmla="*/ 4226944 w 5184476"/>
              <a:gd name="connsiteY7" fmla="*/ 3226279 h 3643222"/>
              <a:gd name="connsiteX8" fmla="*/ 4080295 w 5184476"/>
              <a:gd name="connsiteY8" fmla="*/ 3191774 h 3643222"/>
              <a:gd name="connsiteX9" fmla="*/ 3950899 w 5184476"/>
              <a:gd name="connsiteY9" fmla="*/ 3165894 h 3643222"/>
              <a:gd name="connsiteX10" fmla="*/ 3743865 w 5184476"/>
              <a:gd name="connsiteY10" fmla="*/ 3174521 h 3643222"/>
              <a:gd name="connsiteX11" fmla="*/ 3700733 w 5184476"/>
              <a:gd name="connsiteY11" fmla="*/ 3312544 h 3643222"/>
              <a:gd name="connsiteX12" fmla="*/ 3605842 w 5184476"/>
              <a:gd name="connsiteY12" fmla="*/ 3252159 h 3643222"/>
              <a:gd name="connsiteX13" fmla="*/ 3554084 w 5184476"/>
              <a:gd name="connsiteY13" fmla="*/ 3200400 h 3643222"/>
              <a:gd name="connsiteX14" fmla="*/ 3416061 w 5184476"/>
              <a:gd name="connsiteY14" fmla="*/ 3243532 h 3643222"/>
              <a:gd name="connsiteX15" fmla="*/ 3260785 w 5184476"/>
              <a:gd name="connsiteY15" fmla="*/ 3295291 h 3643222"/>
              <a:gd name="connsiteX16" fmla="*/ 3131389 w 5184476"/>
              <a:gd name="connsiteY16" fmla="*/ 3372928 h 3643222"/>
              <a:gd name="connsiteX17" fmla="*/ 3071004 w 5184476"/>
              <a:gd name="connsiteY17" fmla="*/ 3459193 h 3643222"/>
              <a:gd name="connsiteX18" fmla="*/ 2976114 w 5184476"/>
              <a:gd name="connsiteY18" fmla="*/ 3476445 h 3643222"/>
              <a:gd name="connsiteX19" fmla="*/ 2820838 w 5184476"/>
              <a:gd name="connsiteY19" fmla="*/ 3640347 h 3643222"/>
              <a:gd name="connsiteX20" fmla="*/ 2622431 w 5184476"/>
              <a:gd name="connsiteY20" fmla="*/ 3493698 h 3643222"/>
              <a:gd name="connsiteX21" fmla="*/ 2631057 w 5184476"/>
              <a:gd name="connsiteY21" fmla="*/ 3364302 h 3643222"/>
              <a:gd name="connsiteX22" fmla="*/ 2587925 w 5184476"/>
              <a:gd name="connsiteY22" fmla="*/ 3183147 h 3643222"/>
              <a:gd name="connsiteX23" fmla="*/ 2467155 w 5184476"/>
              <a:gd name="connsiteY23" fmla="*/ 2984740 h 3643222"/>
              <a:gd name="connsiteX24" fmla="*/ 2406770 w 5184476"/>
              <a:gd name="connsiteY24" fmla="*/ 2820838 h 3643222"/>
              <a:gd name="connsiteX25" fmla="*/ 2216989 w 5184476"/>
              <a:gd name="connsiteY25" fmla="*/ 2544793 h 3643222"/>
              <a:gd name="connsiteX26" fmla="*/ 2087593 w 5184476"/>
              <a:gd name="connsiteY26" fmla="*/ 2553419 h 3643222"/>
              <a:gd name="connsiteX27" fmla="*/ 1923691 w 5184476"/>
              <a:gd name="connsiteY27" fmla="*/ 2458528 h 3643222"/>
              <a:gd name="connsiteX28" fmla="*/ 1854680 w 5184476"/>
              <a:gd name="connsiteY28" fmla="*/ 2458528 h 3643222"/>
              <a:gd name="connsiteX29" fmla="*/ 1742536 w 5184476"/>
              <a:gd name="connsiteY29" fmla="*/ 2337759 h 3643222"/>
              <a:gd name="connsiteX30" fmla="*/ 1759789 w 5184476"/>
              <a:gd name="connsiteY30" fmla="*/ 2061713 h 3643222"/>
              <a:gd name="connsiteX31" fmla="*/ 1673525 w 5184476"/>
              <a:gd name="connsiteY31" fmla="*/ 1906438 h 3643222"/>
              <a:gd name="connsiteX32" fmla="*/ 1466491 w 5184476"/>
              <a:gd name="connsiteY32" fmla="*/ 1915064 h 3643222"/>
              <a:gd name="connsiteX33" fmla="*/ 1311216 w 5184476"/>
              <a:gd name="connsiteY33" fmla="*/ 1751162 h 3643222"/>
              <a:gd name="connsiteX34" fmla="*/ 1164567 w 5184476"/>
              <a:gd name="connsiteY34" fmla="*/ 1742536 h 3643222"/>
              <a:gd name="connsiteX35" fmla="*/ 1095555 w 5184476"/>
              <a:gd name="connsiteY35" fmla="*/ 1518249 h 3643222"/>
              <a:gd name="connsiteX36" fmla="*/ 974785 w 5184476"/>
              <a:gd name="connsiteY36" fmla="*/ 1475117 h 3643222"/>
              <a:gd name="connsiteX37" fmla="*/ 974785 w 5184476"/>
              <a:gd name="connsiteY37" fmla="*/ 1337094 h 3643222"/>
              <a:gd name="connsiteX38" fmla="*/ 948906 w 5184476"/>
              <a:gd name="connsiteY38" fmla="*/ 1224951 h 3643222"/>
              <a:gd name="connsiteX39" fmla="*/ 845389 w 5184476"/>
              <a:gd name="connsiteY39" fmla="*/ 1173193 h 3643222"/>
              <a:gd name="connsiteX40" fmla="*/ 793631 w 5184476"/>
              <a:gd name="connsiteY40" fmla="*/ 854015 h 3643222"/>
              <a:gd name="connsiteX41" fmla="*/ 741872 w 5184476"/>
              <a:gd name="connsiteY41" fmla="*/ 646981 h 3643222"/>
              <a:gd name="connsiteX42" fmla="*/ 741872 w 5184476"/>
              <a:gd name="connsiteY42" fmla="*/ 517585 h 3643222"/>
              <a:gd name="connsiteX43" fmla="*/ 733246 w 5184476"/>
              <a:gd name="connsiteY43" fmla="*/ 431321 h 3643222"/>
              <a:gd name="connsiteX44" fmla="*/ 612476 w 5184476"/>
              <a:gd name="connsiteY44" fmla="*/ 379562 h 3643222"/>
              <a:gd name="connsiteX45" fmla="*/ 517585 w 5184476"/>
              <a:gd name="connsiteY45" fmla="*/ 327804 h 3643222"/>
              <a:gd name="connsiteX46" fmla="*/ 405442 w 5184476"/>
              <a:gd name="connsiteY46" fmla="*/ 310551 h 3643222"/>
              <a:gd name="connsiteX47" fmla="*/ 267419 w 5184476"/>
              <a:gd name="connsiteY47" fmla="*/ 258793 h 3643222"/>
              <a:gd name="connsiteX48" fmla="*/ 120770 w 5184476"/>
              <a:gd name="connsiteY48" fmla="*/ 198408 h 3643222"/>
              <a:gd name="connsiteX49" fmla="*/ 51759 w 5184476"/>
              <a:gd name="connsiteY49" fmla="*/ 77638 h 3643222"/>
              <a:gd name="connsiteX50" fmla="*/ 40118 w 5184476"/>
              <a:gd name="connsiteY50" fmla="*/ 65438 h 3643222"/>
              <a:gd name="connsiteX51" fmla="*/ 0 w 5184476"/>
              <a:gd name="connsiteY51" fmla="*/ 0 h 3643222"/>
              <a:gd name="connsiteX0" fmla="*/ 4968816 w 4990382"/>
              <a:gd name="connsiteY0" fmla="*/ 2915728 h 3643222"/>
              <a:gd name="connsiteX1" fmla="*/ 4968816 w 4990382"/>
              <a:gd name="connsiteY1" fmla="*/ 3053751 h 3643222"/>
              <a:gd name="connsiteX2" fmla="*/ 4839419 w 4990382"/>
              <a:gd name="connsiteY2" fmla="*/ 3062377 h 3643222"/>
              <a:gd name="connsiteX3" fmla="*/ 4710023 w 4990382"/>
              <a:gd name="connsiteY3" fmla="*/ 3122762 h 3643222"/>
              <a:gd name="connsiteX4" fmla="*/ 4580628 w 4990382"/>
              <a:gd name="connsiteY4" fmla="*/ 3096883 h 3643222"/>
              <a:gd name="connsiteX5" fmla="*/ 4382219 w 4990382"/>
              <a:gd name="connsiteY5" fmla="*/ 3200400 h 3643222"/>
              <a:gd name="connsiteX6" fmla="*/ 4226944 w 4990382"/>
              <a:gd name="connsiteY6" fmla="*/ 3226279 h 3643222"/>
              <a:gd name="connsiteX7" fmla="*/ 4080295 w 4990382"/>
              <a:gd name="connsiteY7" fmla="*/ 3191774 h 3643222"/>
              <a:gd name="connsiteX8" fmla="*/ 3950899 w 4990382"/>
              <a:gd name="connsiteY8" fmla="*/ 3165894 h 3643222"/>
              <a:gd name="connsiteX9" fmla="*/ 3743865 w 4990382"/>
              <a:gd name="connsiteY9" fmla="*/ 3174521 h 3643222"/>
              <a:gd name="connsiteX10" fmla="*/ 3700733 w 4990382"/>
              <a:gd name="connsiteY10" fmla="*/ 3312544 h 3643222"/>
              <a:gd name="connsiteX11" fmla="*/ 3605842 w 4990382"/>
              <a:gd name="connsiteY11" fmla="*/ 3252159 h 3643222"/>
              <a:gd name="connsiteX12" fmla="*/ 3554084 w 4990382"/>
              <a:gd name="connsiteY12" fmla="*/ 3200400 h 3643222"/>
              <a:gd name="connsiteX13" fmla="*/ 3416061 w 4990382"/>
              <a:gd name="connsiteY13" fmla="*/ 3243532 h 3643222"/>
              <a:gd name="connsiteX14" fmla="*/ 3260785 w 4990382"/>
              <a:gd name="connsiteY14" fmla="*/ 3295291 h 3643222"/>
              <a:gd name="connsiteX15" fmla="*/ 3131389 w 4990382"/>
              <a:gd name="connsiteY15" fmla="*/ 3372928 h 3643222"/>
              <a:gd name="connsiteX16" fmla="*/ 3071004 w 4990382"/>
              <a:gd name="connsiteY16" fmla="*/ 3459193 h 3643222"/>
              <a:gd name="connsiteX17" fmla="*/ 2976114 w 4990382"/>
              <a:gd name="connsiteY17" fmla="*/ 3476445 h 3643222"/>
              <a:gd name="connsiteX18" fmla="*/ 2820838 w 4990382"/>
              <a:gd name="connsiteY18" fmla="*/ 3640347 h 3643222"/>
              <a:gd name="connsiteX19" fmla="*/ 2622431 w 4990382"/>
              <a:gd name="connsiteY19" fmla="*/ 3493698 h 3643222"/>
              <a:gd name="connsiteX20" fmla="*/ 2631057 w 4990382"/>
              <a:gd name="connsiteY20" fmla="*/ 3364302 h 3643222"/>
              <a:gd name="connsiteX21" fmla="*/ 2587925 w 4990382"/>
              <a:gd name="connsiteY21" fmla="*/ 3183147 h 3643222"/>
              <a:gd name="connsiteX22" fmla="*/ 2467155 w 4990382"/>
              <a:gd name="connsiteY22" fmla="*/ 2984740 h 3643222"/>
              <a:gd name="connsiteX23" fmla="*/ 2406770 w 4990382"/>
              <a:gd name="connsiteY23" fmla="*/ 2820838 h 3643222"/>
              <a:gd name="connsiteX24" fmla="*/ 2216989 w 4990382"/>
              <a:gd name="connsiteY24" fmla="*/ 2544793 h 3643222"/>
              <a:gd name="connsiteX25" fmla="*/ 2087593 w 4990382"/>
              <a:gd name="connsiteY25" fmla="*/ 2553419 h 3643222"/>
              <a:gd name="connsiteX26" fmla="*/ 1923691 w 4990382"/>
              <a:gd name="connsiteY26" fmla="*/ 2458528 h 3643222"/>
              <a:gd name="connsiteX27" fmla="*/ 1854680 w 4990382"/>
              <a:gd name="connsiteY27" fmla="*/ 2458528 h 3643222"/>
              <a:gd name="connsiteX28" fmla="*/ 1742536 w 4990382"/>
              <a:gd name="connsiteY28" fmla="*/ 2337759 h 3643222"/>
              <a:gd name="connsiteX29" fmla="*/ 1759789 w 4990382"/>
              <a:gd name="connsiteY29" fmla="*/ 2061713 h 3643222"/>
              <a:gd name="connsiteX30" fmla="*/ 1673525 w 4990382"/>
              <a:gd name="connsiteY30" fmla="*/ 1906438 h 3643222"/>
              <a:gd name="connsiteX31" fmla="*/ 1466491 w 4990382"/>
              <a:gd name="connsiteY31" fmla="*/ 1915064 h 3643222"/>
              <a:gd name="connsiteX32" fmla="*/ 1311216 w 4990382"/>
              <a:gd name="connsiteY32" fmla="*/ 1751162 h 3643222"/>
              <a:gd name="connsiteX33" fmla="*/ 1164567 w 4990382"/>
              <a:gd name="connsiteY33" fmla="*/ 1742536 h 3643222"/>
              <a:gd name="connsiteX34" fmla="*/ 1095555 w 4990382"/>
              <a:gd name="connsiteY34" fmla="*/ 1518249 h 3643222"/>
              <a:gd name="connsiteX35" fmla="*/ 974785 w 4990382"/>
              <a:gd name="connsiteY35" fmla="*/ 1475117 h 3643222"/>
              <a:gd name="connsiteX36" fmla="*/ 974785 w 4990382"/>
              <a:gd name="connsiteY36" fmla="*/ 1337094 h 3643222"/>
              <a:gd name="connsiteX37" fmla="*/ 948906 w 4990382"/>
              <a:gd name="connsiteY37" fmla="*/ 1224951 h 3643222"/>
              <a:gd name="connsiteX38" fmla="*/ 845389 w 4990382"/>
              <a:gd name="connsiteY38" fmla="*/ 1173193 h 3643222"/>
              <a:gd name="connsiteX39" fmla="*/ 793631 w 4990382"/>
              <a:gd name="connsiteY39" fmla="*/ 854015 h 3643222"/>
              <a:gd name="connsiteX40" fmla="*/ 741872 w 4990382"/>
              <a:gd name="connsiteY40" fmla="*/ 646981 h 3643222"/>
              <a:gd name="connsiteX41" fmla="*/ 741872 w 4990382"/>
              <a:gd name="connsiteY41" fmla="*/ 517585 h 3643222"/>
              <a:gd name="connsiteX42" fmla="*/ 733246 w 4990382"/>
              <a:gd name="connsiteY42" fmla="*/ 431321 h 3643222"/>
              <a:gd name="connsiteX43" fmla="*/ 612476 w 4990382"/>
              <a:gd name="connsiteY43" fmla="*/ 379562 h 3643222"/>
              <a:gd name="connsiteX44" fmla="*/ 517585 w 4990382"/>
              <a:gd name="connsiteY44" fmla="*/ 327804 h 3643222"/>
              <a:gd name="connsiteX45" fmla="*/ 405442 w 4990382"/>
              <a:gd name="connsiteY45" fmla="*/ 310551 h 3643222"/>
              <a:gd name="connsiteX46" fmla="*/ 267419 w 4990382"/>
              <a:gd name="connsiteY46" fmla="*/ 258793 h 3643222"/>
              <a:gd name="connsiteX47" fmla="*/ 120770 w 4990382"/>
              <a:gd name="connsiteY47" fmla="*/ 198408 h 3643222"/>
              <a:gd name="connsiteX48" fmla="*/ 51759 w 4990382"/>
              <a:gd name="connsiteY48" fmla="*/ 77638 h 3643222"/>
              <a:gd name="connsiteX49" fmla="*/ 40118 w 4990382"/>
              <a:gd name="connsiteY49" fmla="*/ 65438 h 3643222"/>
              <a:gd name="connsiteX50" fmla="*/ 0 w 4990382"/>
              <a:gd name="connsiteY50" fmla="*/ 0 h 3643222"/>
              <a:gd name="connsiteX0" fmla="*/ 4968816 w 4968816"/>
              <a:gd name="connsiteY0" fmla="*/ 3053751 h 3643222"/>
              <a:gd name="connsiteX1" fmla="*/ 4839419 w 4968816"/>
              <a:gd name="connsiteY1" fmla="*/ 3062377 h 3643222"/>
              <a:gd name="connsiteX2" fmla="*/ 4710023 w 4968816"/>
              <a:gd name="connsiteY2" fmla="*/ 3122762 h 3643222"/>
              <a:gd name="connsiteX3" fmla="*/ 4580628 w 4968816"/>
              <a:gd name="connsiteY3" fmla="*/ 3096883 h 3643222"/>
              <a:gd name="connsiteX4" fmla="*/ 4382219 w 4968816"/>
              <a:gd name="connsiteY4" fmla="*/ 3200400 h 3643222"/>
              <a:gd name="connsiteX5" fmla="*/ 4226944 w 4968816"/>
              <a:gd name="connsiteY5" fmla="*/ 3226279 h 3643222"/>
              <a:gd name="connsiteX6" fmla="*/ 4080295 w 4968816"/>
              <a:gd name="connsiteY6" fmla="*/ 3191774 h 3643222"/>
              <a:gd name="connsiteX7" fmla="*/ 3950899 w 4968816"/>
              <a:gd name="connsiteY7" fmla="*/ 3165894 h 3643222"/>
              <a:gd name="connsiteX8" fmla="*/ 3743865 w 4968816"/>
              <a:gd name="connsiteY8" fmla="*/ 3174521 h 3643222"/>
              <a:gd name="connsiteX9" fmla="*/ 3700733 w 4968816"/>
              <a:gd name="connsiteY9" fmla="*/ 3312544 h 3643222"/>
              <a:gd name="connsiteX10" fmla="*/ 3605842 w 4968816"/>
              <a:gd name="connsiteY10" fmla="*/ 3252159 h 3643222"/>
              <a:gd name="connsiteX11" fmla="*/ 3554084 w 4968816"/>
              <a:gd name="connsiteY11" fmla="*/ 3200400 h 3643222"/>
              <a:gd name="connsiteX12" fmla="*/ 3416061 w 4968816"/>
              <a:gd name="connsiteY12" fmla="*/ 3243532 h 3643222"/>
              <a:gd name="connsiteX13" fmla="*/ 3260785 w 4968816"/>
              <a:gd name="connsiteY13" fmla="*/ 3295291 h 3643222"/>
              <a:gd name="connsiteX14" fmla="*/ 3131389 w 4968816"/>
              <a:gd name="connsiteY14" fmla="*/ 3372928 h 3643222"/>
              <a:gd name="connsiteX15" fmla="*/ 3071004 w 4968816"/>
              <a:gd name="connsiteY15" fmla="*/ 3459193 h 3643222"/>
              <a:gd name="connsiteX16" fmla="*/ 2976114 w 4968816"/>
              <a:gd name="connsiteY16" fmla="*/ 3476445 h 3643222"/>
              <a:gd name="connsiteX17" fmla="*/ 2820838 w 4968816"/>
              <a:gd name="connsiteY17" fmla="*/ 3640347 h 3643222"/>
              <a:gd name="connsiteX18" fmla="*/ 2622431 w 4968816"/>
              <a:gd name="connsiteY18" fmla="*/ 3493698 h 3643222"/>
              <a:gd name="connsiteX19" fmla="*/ 2631057 w 4968816"/>
              <a:gd name="connsiteY19" fmla="*/ 3364302 h 3643222"/>
              <a:gd name="connsiteX20" fmla="*/ 2587925 w 4968816"/>
              <a:gd name="connsiteY20" fmla="*/ 3183147 h 3643222"/>
              <a:gd name="connsiteX21" fmla="*/ 2467155 w 4968816"/>
              <a:gd name="connsiteY21" fmla="*/ 2984740 h 3643222"/>
              <a:gd name="connsiteX22" fmla="*/ 2406770 w 4968816"/>
              <a:gd name="connsiteY22" fmla="*/ 2820838 h 3643222"/>
              <a:gd name="connsiteX23" fmla="*/ 2216989 w 4968816"/>
              <a:gd name="connsiteY23" fmla="*/ 2544793 h 3643222"/>
              <a:gd name="connsiteX24" fmla="*/ 2087593 w 4968816"/>
              <a:gd name="connsiteY24" fmla="*/ 2553419 h 3643222"/>
              <a:gd name="connsiteX25" fmla="*/ 1923691 w 4968816"/>
              <a:gd name="connsiteY25" fmla="*/ 2458528 h 3643222"/>
              <a:gd name="connsiteX26" fmla="*/ 1854680 w 4968816"/>
              <a:gd name="connsiteY26" fmla="*/ 2458528 h 3643222"/>
              <a:gd name="connsiteX27" fmla="*/ 1742536 w 4968816"/>
              <a:gd name="connsiteY27" fmla="*/ 2337759 h 3643222"/>
              <a:gd name="connsiteX28" fmla="*/ 1759789 w 4968816"/>
              <a:gd name="connsiteY28" fmla="*/ 2061713 h 3643222"/>
              <a:gd name="connsiteX29" fmla="*/ 1673525 w 4968816"/>
              <a:gd name="connsiteY29" fmla="*/ 1906438 h 3643222"/>
              <a:gd name="connsiteX30" fmla="*/ 1466491 w 4968816"/>
              <a:gd name="connsiteY30" fmla="*/ 1915064 h 3643222"/>
              <a:gd name="connsiteX31" fmla="*/ 1311216 w 4968816"/>
              <a:gd name="connsiteY31" fmla="*/ 1751162 h 3643222"/>
              <a:gd name="connsiteX32" fmla="*/ 1164567 w 4968816"/>
              <a:gd name="connsiteY32" fmla="*/ 1742536 h 3643222"/>
              <a:gd name="connsiteX33" fmla="*/ 1095555 w 4968816"/>
              <a:gd name="connsiteY33" fmla="*/ 1518249 h 3643222"/>
              <a:gd name="connsiteX34" fmla="*/ 974785 w 4968816"/>
              <a:gd name="connsiteY34" fmla="*/ 1475117 h 3643222"/>
              <a:gd name="connsiteX35" fmla="*/ 974785 w 4968816"/>
              <a:gd name="connsiteY35" fmla="*/ 1337094 h 3643222"/>
              <a:gd name="connsiteX36" fmla="*/ 948906 w 4968816"/>
              <a:gd name="connsiteY36" fmla="*/ 1224951 h 3643222"/>
              <a:gd name="connsiteX37" fmla="*/ 845389 w 4968816"/>
              <a:gd name="connsiteY37" fmla="*/ 1173193 h 3643222"/>
              <a:gd name="connsiteX38" fmla="*/ 793631 w 4968816"/>
              <a:gd name="connsiteY38" fmla="*/ 854015 h 3643222"/>
              <a:gd name="connsiteX39" fmla="*/ 741872 w 4968816"/>
              <a:gd name="connsiteY39" fmla="*/ 646981 h 3643222"/>
              <a:gd name="connsiteX40" fmla="*/ 741872 w 4968816"/>
              <a:gd name="connsiteY40" fmla="*/ 517585 h 3643222"/>
              <a:gd name="connsiteX41" fmla="*/ 733246 w 4968816"/>
              <a:gd name="connsiteY41" fmla="*/ 431321 h 3643222"/>
              <a:gd name="connsiteX42" fmla="*/ 612476 w 4968816"/>
              <a:gd name="connsiteY42" fmla="*/ 379562 h 3643222"/>
              <a:gd name="connsiteX43" fmla="*/ 517585 w 4968816"/>
              <a:gd name="connsiteY43" fmla="*/ 327804 h 3643222"/>
              <a:gd name="connsiteX44" fmla="*/ 405442 w 4968816"/>
              <a:gd name="connsiteY44" fmla="*/ 310551 h 3643222"/>
              <a:gd name="connsiteX45" fmla="*/ 267419 w 4968816"/>
              <a:gd name="connsiteY45" fmla="*/ 258793 h 3643222"/>
              <a:gd name="connsiteX46" fmla="*/ 120770 w 4968816"/>
              <a:gd name="connsiteY46" fmla="*/ 198408 h 3643222"/>
              <a:gd name="connsiteX47" fmla="*/ 51759 w 4968816"/>
              <a:gd name="connsiteY47" fmla="*/ 77638 h 3643222"/>
              <a:gd name="connsiteX48" fmla="*/ 40118 w 4968816"/>
              <a:gd name="connsiteY48" fmla="*/ 65438 h 3643222"/>
              <a:gd name="connsiteX49" fmla="*/ 0 w 4968816"/>
              <a:gd name="connsiteY49" fmla="*/ 0 h 3643222"/>
              <a:gd name="connsiteX0" fmla="*/ 4839419 w 4839419"/>
              <a:gd name="connsiteY0" fmla="*/ 3062377 h 3643222"/>
              <a:gd name="connsiteX1" fmla="*/ 4710023 w 4839419"/>
              <a:gd name="connsiteY1" fmla="*/ 3122762 h 3643222"/>
              <a:gd name="connsiteX2" fmla="*/ 4580628 w 4839419"/>
              <a:gd name="connsiteY2" fmla="*/ 3096883 h 3643222"/>
              <a:gd name="connsiteX3" fmla="*/ 4382219 w 4839419"/>
              <a:gd name="connsiteY3" fmla="*/ 3200400 h 3643222"/>
              <a:gd name="connsiteX4" fmla="*/ 4226944 w 4839419"/>
              <a:gd name="connsiteY4" fmla="*/ 3226279 h 3643222"/>
              <a:gd name="connsiteX5" fmla="*/ 4080295 w 4839419"/>
              <a:gd name="connsiteY5" fmla="*/ 3191774 h 3643222"/>
              <a:gd name="connsiteX6" fmla="*/ 3950899 w 4839419"/>
              <a:gd name="connsiteY6" fmla="*/ 3165894 h 3643222"/>
              <a:gd name="connsiteX7" fmla="*/ 3743865 w 4839419"/>
              <a:gd name="connsiteY7" fmla="*/ 3174521 h 3643222"/>
              <a:gd name="connsiteX8" fmla="*/ 3700733 w 4839419"/>
              <a:gd name="connsiteY8" fmla="*/ 3312544 h 3643222"/>
              <a:gd name="connsiteX9" fmla="*/ 3605842 w 4839419"/>
              <a:gd name="connsiteY9" fmla="*/ 3252159 h 3643222"/>
              <a:gd name="connsiteX10" fmla="*/ 3554084 w 4839419"/>
              <a:gd name="connsiteY10" fmla="*/ 3200400 h 3643222"/>
              <a:gd name="connsiteX11" fmla="*/ 3416061 w 4839419"/>
              <a:gd name="connsiteY11" fmla="*/ 3243532 h 3643222"/>
              <a:gd name="connsiteX12" fmla="*/ 3260785 w 4839419"/>
              <a:gd name="connsiteY12" fmla="*/ 3295291 h 3643222"/>
              <a:gd name="connsiteX13" fmla="*/ 3131389 w 4839419"/>
              <a:gd name="connsiteY13" fmla="*/ 3372928 h 3643222"/>
              <a:gd name="connsiteX14" fmla="*/ 3071004 w 4839419"/>
              <a:gd name="connsiteY14" fmla="*/ 3459193 h 3643222"/>
              <a:gd name="connsiteX15" fmla="*/ 2976114 w 4839419"/>
              <a:gd name="connsiteY15" fmla="*/ 3476445 h 3643222"/>
              <a:gd name="connsiteX16" fmla="*/ 2820838 w 4839419"/>
              <a:gd name="connsiteY16" fmla="*/ 3640347 h 3643222"/>
              <a:gd name="connsiteX17" fmla="*/ 2622431 w 4839419"/>
              <a:gd name="connsiteY17" fmla="*/ 3493698 h 3643222"/>
              <a:gd name="connsiteX18" fmla="*/ 2631057 w 4839419"/>
              <a:gd name="connsiteY18" fmla="*/ 3364302 h 3643222"/>
              <a:gd name="connsiteX19" fmla="*/ 2587925 w 4839419"/>
              <a:gd name="connsiteY19" fmla="*/ 3183147 h 3643222"/>
              <a:gd name="connsiteX20" fmla="*/ 2467155 w 4839419"/>
              <a:gd name="connsiteY20" fmla="*/ 2984740 h 3643222"/>
              <a:gd name="connsiteX21" fmla="*/ 2406770 w 4839419"/>
              <a:gd name="connsiteY21" fmla="*/ 2820838 h 3643222"/>
              <a:gd name="connsiteX22" fmla="*/ 2216989 w 4839419"/>
              <a:gd name="connsiteY22" fmla="*/ 2544793 h 3643222"/>
              <a:gd name="connsiteX23" fmla="*/ 2087593 w 4839419"/>
              <a:gd name="connsiteY23" fmla="*/ 2553419 h 3643222"/>
              <a:gd name="connsiteX24" fmla="*/ 1923691 w 4839419"/>
              <a:gd name="connsiteY24" fmla="*/ 2458528 h 3643222"/>
              <a:gd name="connsiteX25" fmla="*/ 1854680 w 4839419"/>
              <a:gd name="connsiteY25" fmla="*/ 2458528 h 3643222"/>
              <a:gd name="connsiteX26" fmla="*/ 1742536 w 4839419"/>
              <a:gd name="connsiteY26" fmla="*/ 2337759 h 3643222"/>
              <a:gd name="connsiteX27" fmla="*/ 1759789 w 4839419"/>
              <a:gd name="connsiteY27" fmla="*/ 2061713 h 3643222"/>
              <a:gd name="connsiteX28" fmla="*/ 1673525 w 4839419"/>
              <a:gd name="connsiteY28" fmla="*/ 1906438 h 3643222"/>
              <a:gd name="connsiteX29" fmla="*/ 1466491 w 4839419"/>
              <a:gd name="connsiteY29" fmla="*/ 1915064 h 3643222"/>
              <a:gd name="connsiteX30" fmla="*/ 1311216 w 4839419"/>
              <a:gd name="connsiteY30" fmla="*/ 1751162 h 3643222"/>
              <a:gd name="connsiteX31" fmla="*/ 1164567 w 4839419"/>
              <a:gd name="connsiteY31" fmla="*/ 1742536 h 3643222"/>
              <a:gd name="connsiteX32" fmla="*/ 1095555 w 4839419"/>
              <a:gd name="connsiteY32" fmla="*/ 1518249 h 3643222"/>
              <a:gd name="connsiteX33" fmla="*/ 974785 w 4839419"/>
              <a:gd name="connsiteY33" fmla="*/ 1475117 h 3643222"/>
              <a:gd name="connsiteX34" fmla="*/ 974785 w 4839419"/>
              <a:gd name="connsiteY34" fmla="*/ 1337094 h 3643222"/>
              <a:gd name="connsiteX35" fmla="*/ 948906 w 4839419"/>
              <a:gd name="connsiteY35" fmla="*/ 1224951 h 3643222"/>
              <a:gd name="connsiteX36" fmla="*/ 845389 w 4839419"/>
              <a:gd name="connsiteY36" fmla="*/ 1173193 h 3643222"/>
              <a:gd name="connsiteX37" fmla="*/ 793631 w 4839419"/>
              <a:gd name="connsiteY37" fmla="*/ 854015 h 3643222"/>
              <a:gd name="connsiteX38" fmla="*/ 741872 w 4839419"/>
              <a:gd name="connsiteY38" fmla="*/ 646981 h 3643222"/>
              <a:gd name="connsiteX39" fmla="*/ 741872 w 4839419"/>
              <a:gd name="connsiteY39" fmla="*/ 517585 h 3643222"/>
              <a:gd name="connsiteX40" fmla="*/ 733246 w 4839419"/>
              <a:gd name="connsiteY40" fmla="*/ 431321 h 3643222"/>
              <a:gd name="connsiteX41" fmla="*/ 612476 w 4839419"/>
              <a:gd name="connsiteY41" fmla="*/ 379562 h 3643222"/>
              <a:gd name="connsiteX42" fmla="*/ 517585 w 4839419"/>
              <a:gd name="connsiteY42" fmla="*/ 327804 h 3643222"/>
              <a:gd name="connsiteX43" fmla="*/ 405442 w 4839419"/>
              <a:gd name="connsiteY43" fmla="*/ 310551 h 3643222"/>
              <a:gd name="connsiteX44" fmla="*/ 267419 w 4839419"/>
              <a:gd name="connsiteY44" fmla="*/ 258793 h 3643222"/>
              <a:gd name="connsiteX45" fmla="*/ 120770 w 4839419"/>
              <a:gd name="connsiteY45" fmla="*/ 198408 h 3643222"/>
              <a:gd name="connsiteX46" fmla="*/ 51759 w 4839419"/>
              <a:gd name="connsiteY46" fmla="*/ 77638 h 3643222"/>
              <a:gd name="connsiteX47" fmla="*/ 40118 w 4839419"/>
              <a:gd name="connsiteY47" fmla="*/ 65438 h 3643222"/>
              <a:gd name="connsiteX48" fmla="*/ 0 w 4839419"/>
              <a:gd name="connsiteY48" fmla="*/ 0 h 3643222"/>
              <a:gd name="connsiteX0" fmla="*/ 4710023 w 4710023"/>
              <a:gd name="connsiteY0" fmla="*/ 3122762 h 3643222"/>
              <a:gd name="connsiteX1" fmla="*/ 4580628 w 4710023"/>
              <a:gd name="connsiteY1" fmla="*/ 3096883 h 3643222"/>
              <a:gd name="connsiteX2" fmla="*/ 4382219 w 4710023"/>
              <a:gd name="connsiteY2" fmla="*/ 3200400 h 3643222"/>
              <a:gd name="connsiteX3" fmla="*/ 4226944 w 4710023"/>
              <a:gd name="connsiteY3" fmla="*/ 3226279 h 3643222"/>
              <a:gd name="connsiteX4" fmla="*/ 4080295 w 4710023"/>
              <a:gd name="connsiteY4" fmla="*/ 3191774 h 3643222"/>
              <a:gd name="connsiteX5" fmla="*/ 3950899 w 4710023"/>
              <a:gd name="connsiteY5" fmla="*/ 3165894 h 3643222"/>
              <a:gd name="connsiteX6" fmla="*/ 3743865 w 4710023"/>
              <a:gd name="connsiteY6" fmla="*/ 3174521 h 3643222"/>
              <a:gd name="connsiteX7" fmla="*/ 3700733 w 4710023"/>
              <a:gd name="connsiteY7" fmla="*/ 3312544 h 3643222"/>
              <a:gd name="connsiteX8" fmla="*/ 3605842 w 4710023"/>
              <a:gd name="connsiteY8" fmla="*/ 3252159 h 3643222"/>
              <a:gd name="connsiteX9" fmla="*/ 3554084 w 4710023"/>
              <a:gd name="connsiteY9" fmla="*/ 3200400 h 3643222"/>
              <a:gd name="connsiteX10" fmla="*/ 3416061 w 4710023"/>
              <a:gd name="connsiteY10" fmla="*/ 3243532 h 3643222"/>
              <a:gd name="connsiteX11" fmla="*/ 3260785 w 4710023"/>
              <a:gd name="connsiteY11" fmla="*/ 3295291 h 3643222"/>
              <a:gd name="connsiteX12" fmla="*/ 3131389 w 4710023"/>
              <a:gd name="connsiteY12" fmla="*/ 3372928 h 3643222"/>
              <a:gd name="connsiteX13" fmla="*/ 3071004 w 4710023"/>
              <a:gd name="connsiteY13" fmla="*/ 3459193 h 3643222"/>
              <a:gd name="connsiteX14" fmla="*/ 2976114 w 4710023"/>
              <a:gd name="connsiteY14" fmla="*/ 3476445 h 3643222"/>
              <a:gd name="connsiteX15" fmla="*/ 2820838 w 4710023"/>
              <a:gd name="connsiteY15" fmla="*/ 3640347 h 3643222"/>
              <a:gd name="connsiteX16" fmla="*/ 2622431 w 4710023"/>
              <a:gd name="connsiteY16" fmla="*/ 3493698 h 3643222"/>
              <a:gd name="connsiteX17" fmla="*/ 2631057 w 4710023"/>
              <a:gd name="connsiteY17" fmla="*/ 3364302 h 3643222"/>
              <a:gd name="connsiteX18" fmla="*/ 2587925 w 4710023"/>
              <a:gd name="connsiteY18" fmla="*/ 3183147 h 3643222"/>
              <a:gd name="connsiteX19" fmla="*/ 2467155 w 4710023"/>
              <a:gd name="connsiteY19" fmla="*/ 2984740 h 3643222"/>
              <a:gd name="connsiteX20" fmla="*/ 2406770 w 4710023"/>
              <a:gd name="connsiteY20" fmla="*/ 2820838 h 3643222"/>
              <a:gd name="connsiteX21" fmla="*/ 2216989 w 4710023"/>
              <a:gd name="connsiteY21" fmla="*/ 2544793 h 3643222"/>
              <a:gd name="connsiteX22" fmla="*/ 2087593 w 4710023"/>
              <a:gd name="connsiteY22" fmla="*/ 2553419 h 3643222"/>
              <a:gd name="connsiteX23" fmla="*/ 1923691 w 4710023"/>
              <a:gd name="connsiteY23" fmla="*/ 2458528 h 3643222"/>
              <a:gd name="connsiteX24" fmla="*/ 1854680 w 4710023"/>
              <a:gd name="connsiteY24" fmla="*/ 2458528 h 3643222"/>
              <a:gd name="connsiteX25" fmla="*/ 1742536 w 4710023"/>
              <a:gd name="connsiteY25" fmla="*/ 2337759 h 3643222"/>
              <a:gd name="connsiteX26" fmla="*/ 1759789 w 4710023"/>
              <a:gd name="connsiteY26" fmla="*/ 2061713 h 3643222"/>
              <a:gd name="connsiteX27" fmla="*/ 1673525 w 4710023"/>
              <a:gd name="connsiteY27" fmla="*/ 1906438 h 3643222"/>
              <a:gd name="connsiteX28" fmla="*/ 1466491 w 4710023"/>
              <a:gd name="connsiteY28" fmla="*/ 1915064 h 3643222"/>
              <a:gd name="connsiteX29" fmla="*/ 1311216 w 4710023"/>
              <a:gd name="connsiteY29" fmla="*/ 1751162 h 3643222"/>
              <a:gd name="connsiteX30" fmla="*/ 1164567 w 4710023"/>
              <a:gd name="connsiteY30" fmla="*/ 1742536 h 3643222"/>
              <a:gd name="connsiteX31" fmla="*/ 1095555 w 4710023"/>
              <a:gd name="connsiteY31" fmla="*/ 1518249 h 3643222"/>
              <a:gd name="connsiteX32" fmla="*/ 974785 w 4710023"/>
              <a:gd name="connsiteY32" fmla="*/ 1475117 h 3643222"/>
              <a:gd name="connsiteX33" fmla="*/ 974785 w 4710023"/>
              <a:gd name="connsiteY33" fmla="*/ 1337094 h 3643222"/>
              <a:gd name="connsiteX34" fmla="*/ 948906 w 4710023"/>
              <a:gd name="connsiteY34" fmla="*/ 1224951 h 3643222"/>
              <a:gd name="connsiteX35" fmla="*/ 845389 w 4710023"/>
              <a:gd name="connsiteY35" fmla="*/ 1173193 h 3643222"/>
              <a:gd name="connsiteX36" fmla="*/ 793631 w 4710023"/>
              <a:gd name="connsiteY36" fmla="*/ 854015 h 3643222"/>
              <a:gd name="connsiteX37" fmla="*/ 741872 w 4710023"/>
              <a:gd name="connsiteY37" fmla="*/ 646981 h 3643222"/>
              <a:gd name="connsiteX38" fmla="*/ 741872 w 4710023"/>
              <a:gd name="connsiteY38" fmla="*/ 517585 h 3643222"/>
              <a:gd name="connsiteX39" fmla="*/ 733246 w 4710023"/>
              <a:gd name="connsiteY39" fmla="*/ 431321 h 3643222"/>
              <a:gd name="connsiteX40" fmla="*/ 612476 w 4710023"/>
              <a:gd name="connsiteY40" fmla="*/ 379562 h 3643222"/>
              <a:gd name="connsiteX41" fmla="*/ 517585 w 4710023"/>
              <a:gd name="connsiteY41" fmla="*/ 327804 h 3643222"/>
              <a:gd name="connsiteX42" fmla="*/ 405442 w 4710023"/>
              <a:gd name="connsiteY42" fmla="*/ 310551 h 3643222"/>
              <a:gd name="connsiteX43" fmla="*/ 267419 w 4710023"/>
              <a:gd name="connsiteY43" fmla="*/ 258793 h 3643222"/>
              <a:gd name="connsiteX44" fmla="*/ 120770 w 4710023"/>
              <a:gd name="connsiteY44" fmla="*/ 198408 h 3643222"/>
              <a:gd name="connsiteX45" fmla="*/ 51759 w 4710023"/>
              <a:gd name="connsiteY45" fmla="*/ 77638 h 3643222"/>
              <a:gd name="connsiteX46" fmla="*/ 40118 w 4710023"/>
              <a:gd name="connsiteY46" fmla="*/ 65438 h 3643222"/>
              <a:gd name="connsiteX47" fmla="*/ 0 w 4710023"/>
              <a:gd name="connsiteY47" fmla="*/ 0 h 3643222"/>
              <a:gd name="connsiteX0" fmla="*/ 4580628 w 4580628"/>
              <a:gd name="connsiteY0" fmla="*/ 3096883 h 3643222"/>
              <a:gd name="connsiteX1" fmla="*/ 4382219 w 4580628"/>
              <a:gd name="connsiteY1" fmla="*/ 3200400 h 3643222"/>
              <a:gd name="connsiteX2" fmla="*/ 4226944 w 4580628"/>
              <a:gd name="connsiteY2" fmla="*/ 3226279 h 3643222"/>
              <a:gd name="connsiteX3" fmla="*/ 4080295 w 4580628"/>
              <a:gd name="connsiteY3" fmla="*/ 3191774 h 3643222"/>
              <a:gd name="connsiteX4" fmla="*/ 3950899 w 4580628"/>
              <a:gd name="connsiteY4" fmla="*/ 3165894 h 3643222"/>
              <a:gd name="connsiteX5" fmla="*/ 3743865 w 4580628"/>
              <a:gd name="connsiteY5" fmla="*/ 3174521 h 3643222"/>
              <a:gd name="connsiteX6" fmla="*/ 3700733 w 4580628"/>
              <a:gd name="connsiteY6" fmla="*/ 3312544 h 3643222"/>
              <a:gd name="connsiteX7" fmla="*/ 3605842 w 4580628"/>
              <a:gd name="connsiteY7" fmla="*/ 3252159 h 3643222"/>
              <a:gd name="connsiteX8" fmla="*/ 3554084 w 4580628"/>
              <a:gd name="connsiteY8" fmla="*/ 3200400 h 3643222"/>
              <a:gd name="connsiteX9" fmla="*/ 3416061 w 4580628"/>
              <a:gd name="connsiteY9" fmla="*/ 3243532 h 3643222"/>
              <a:gd name="connsiteX10" fmla="*/ 3260785 w 4580628"/>
              <a:gd name="connsiteY10" fmla="*/ 3295291 h 3643222"/>
              <a:gd name="connsiteX11" fmla="*/ 3131389 w 4580628"/>
              <a:gd name="connsiteY11" fmla="*/ 3372928 h 3643222"/>
              <a:gd name="connsiteX12" fmla="*/ 3071004 w 4580628"/>
              <a:gd name="connsiteY12" fmla="*/ 3459193 h 3643222"/>
              <a:gd name="connsiteX13" fmla="*/ 2976114 w 4580628"/>
              <a:gd name="connsiteY13" fmla="*/ 3476445 h 3643222"/>
              <a:gd name="connsiteX14" fmla="*/ 2820838 w 4580628"/>
              <a:gd name="connsiteY14" fmla="*/ 3640347 h 3643222"/>
              <a:gd name="connsiteX15" fmla="*/ 2622431 w 4580628"/>
              <a:gd name="connsiteY15" fmla="*/ 3493698 h 3643222"/>
              <a:gd name="connsiteX16" fmla="*/ 2631057 w 4580628"/>
              <a:gd name="connsiteY16" fmla="*/ 3364302 h 3643222"/>
              <a:gd name="connsiteX17" fmla="*/ 2587925 w 4580628"/>
              <a:gd name="connsiteY17" fmla="*/ 3183147 h 3643222"/>
              <a:gd name="connsiteX18" fmla="*/ 2467155 w 4580628"/>
              <a:gd name="connsiteY18" fmla="*/ 2984740 h 3643222"/>
              <a:gd name="connsiteX19" fmla="*/ 2406770 w 4580628"/>
              <a:gd name="connsiteY19" fmla="*/ 2820838 h 3643222"/>
              <a:gd name="connsiteX20" fmla="*/ 2216989 w 4580628"/>
              <a:gd name="connsiteY20" fmla="*/ 2544793 h 3643222"/>
              <a:gd name="connsiteX21" fmla="*/ 2087593 w 4580628"/>
              <a:gd name="connsiteY21" fmla="*/ 2553419 h 3643222"/>
              <a:gd name="connsiteX22" fmla="*/ 1923691 w 4580628"/>
              <a:gd name="connsiteY22" fmla="*/ 2458528 h 3643222"/>
              <a:gd name="connsiteX23" fmla="*/ 1854680 w 4580628"/>
              <a:gd name="connsiteY23" fmla="*/ 2458528 h 3643222"/>
              <a:gd name="connsiteX24" fmla="*/ 1742536 w 4580628"/>
              <a:gd name="connsiteY24" fmla="*/ 2337759 h 3643222"/>
              <a:gd name="connsiteX25" fmla="*/ 1759789 w 4580628"/>
              <a:gd name="connsiteY25" fmla="*/ 2061713 h 3643222"/>
              <a:gd name="connsiteX26" fmla="*/ 1673525 w 4580628"/>
              <a:gd name="connsiteY26" fmla="*/ 1906438 h 3643222"/>
              <a:gd name="connsiteX27" fmla="*/ 1466491 w 4580628"/>
              <a:gd name="connsiteY27" fmla="*/ 1915064 h 3643222"/>
              <a:gd name="connsiteX28" fmla="*/ 1311216 w 4580628"/>
              <a:gd name="connsiteY28" fmla="*/ 1751162 h 3643222"/>
              <a:gd name="connsiteX29" fmla="*/ 1164567 w 4580628"/>
              <a:gd name="connsiteY29" fmla="*/ 1742536 h 3643222"/>
              <a:gd name="connsiteX30" fmla="*/ 1095555 w 4580628"/>
              <a:gd name="connsiteY30" fmla="*/ 1518249 h 3643222"/>
              <a:gd name="connsiteX31" fmla="*/ 974785 w 4580628"/>
              <a:gd name="connsiteY31" fmla="*/ 1475117 h 3643222"/>
              <a:gd name="connsiteX32" fmla="*/ 974785 w 4580628"/>
              <a:gd name="connsiteY32" fmla="*/ 1337094 h 3643222"/>
              <a:gd name="connsiteX33" fmla="*/ 948906 w 4580628"/>
              <a:gd name="connsiteY33" fmla="*/ 1224951 h 3643222"/>
              <a:gd name="connsiteX34" fmla="*/ 845389 w 4580628"/>
              <a:gd name="connsiteY34" fmla="*/ 1173193 h 3643222"/>
              <a:gd name="connsiteX35" fmla="*/ 793631 w 4580628"/>
              <a:gd name="connsiteY35" fmla="*/ 854015 h 3643222"/>
              <a:gd name="connsiteX36" fmla="*/ 741872 w 4580628"/>
              <a:gd name="connsiteY36" fmla="*/ 646981 h 3643222"/>
              <a:gd name="connsiteX37" fmla="*/ 741872 w 4580628"/>
              <a:gd name="connsiteY37" fmla="*/ 517585 h 3643222"/>
              <a:gd name="connsiteX38" fmla="*/ 733246 w 4580628"/>
              <a:gd name="connsiteY38" fmla="*/ 431321 h 3643222"/>
              <a:gd name="connsiteX39" fmla="*/ 612476 w 4580628"/>
              <a:gd name="connsiteY39" fmla="*/ 379562 h 3643222"/>
              <a:gd name="connsiteX40" fmla="*/ 517585 w 4580628"/>
              <a:gd name="connsiteY40" fmla="*/ 327804 h 3643222"/>
              <a:gd name="connsiteX41" fmla="*/ 405442 w 4580628"/>
              <a:gd name="connsiteY41" fmla="*/ 310551 h 3643222"/>
              <a:gd name="connsiteX42" fmla="*/ 267419 w 4580628"/>
              <a:gd name="connsiteY42" fmla="*/ 258793 h 3643222"/>
              <a:gd name="connsiteX43" fmla="*/ 120770 w 4580628"/>
              <a:gd name="connsiteY43" fmla="*/ 198408 h 3643222"/>
              <a:gd name="connsiteX44" fmla="*/ 51759 w 4580628"/>
              <a:gd name="connsiteY44" fmla="*/ 77638 h 3643222"/>
              <a:gd name="connsiteX45" fmla="*/ 40118 w 4580628"/>
              <a:gd name="connsiteY45" fmla="*/ 65438 h 3643222"/>
              <a:gd name="connsiteX46" fmla="*/ 0 w 4580628"/>
              <a:gd name="connsiteY46" fmla="*/ 0 h 3643222"/>
              <a:gd name="connsiteX0" fmla="*/ 4580225 w 4580225"/>
              <a:gd name="connsiteY0" fmla="*/ 3094562 h 3640901"/>
              <a:gd name="connsiteX1" fmla="*/ 4381816 w 4580225"/>
              <a:gd name="connsiteY1" fmla="*/ 3198079 h 3640901"/>
              <a:gd name="connsiteX2" fmla="*/ 4226541 w 4580225"/>
              <a:gd name="connsiteY2" fmla="*/ 3223958 h 3640901"/>
              <a:gd name="connsiteX3" fmla="*/ 4079892 w 4580225"/>
              <a:gd name="connsiteY3" fmla="*/ 3189453 h 3640901"/>
              <a:gd name="connsiteX4" fmla="*/ 3950496 w 4580225"/>
              <a:gd name="connsiteY4" fmla="*/ 3163573 h 3640901"/>
              <a:gd name="connsiteX5" fmla="*/ 3743462 w 4580225"/>
              <a:gd name="connsiteY5" fmla="*/ 3172200 h 3640901"/>
              <a:gd name="connsiteX6" fmla="*/ 3700330 w 4580225"/>
              <a:gd name="connsiteY6" fmla="*/ 3310223 h 3640901"/>
              <a:gd name="connsiteX7" fmla="*/ 3605439 w 4580225"/>
              <a:gd name="connsiteY7" fmla="*/ 3249838 h 3640901"/>
              <a:gd name="connsiteX8" fmla="*/ 3553681 w 4580225"/>
              <a:gd name="connsiteY8" fmla="*/ 3198079 h 3640901"/>
              <a:gd name="connsiteX9" fmla="*/ 3415658 w 4580225"/>
              <a:gd name="connsiteY9" fmla="*/ 3241211 h 3640901"/>
              <a:gd name="connsiteX10" fmla="*/ 3260382 w 4580225"/>
              <a:gd name="connsiteY10" fmla="*/ 3292970 h 3640901"/>
              <a:gd name="connsiteX11" fmla="*/ 3130986 w 4580225"/>
              <a:gd name="connsiteY11" fmla="*/ 3370607 h 3640901"/>
              <a:gd name="connsiteX12" fmla="*/ 3070601 w 4580225"/>
              <a:gd name="connsiteY12" fmla="*/ 3456872 h 3640901"/>
              <a:gd name="connsiteX13" fmla="*/ 2975711 w 4580225"/>
              <a:gd name="connsiteY13" fmla="*/ 3474124 h 3640901"/>
              <a:gd name="connsiteX14" fmla="*/ 2820435 w 4580225"/>
              <a:gd name="connsiteY14" fmla="*/ 3638026 h 3640901"/>
              <a:gd name="connsiteX15" fmla="*/ 2622028 w 4580225"/>
              <a:gd name="connsiteY15" fmla="*/ 3491377 h 3640901"/>
              <a:gd name="connsiteX16" fmla="*/ 2630654 w 4580225"/>
              <a:gd name="connsiteY16" fmla="*/ 3361981 h 3640901"/>
              <a:gd name="connsiteX17" fmla="*/ 2587522 w 4580225"/>
              <a:gd name="connsiteY17" fmla="*/ 3180826 h 3640901"/>
              <a:gd name="connsiteX18" fmla="*/ 2466752 w 4580225"/>
              <a:gd name="connsiteY18" fmla="*/ 2982419 h 3640901"/>
              <a:gd name="connsiteX19" fmla="*/ 2406367 w 4580225"/>
              <a:gd name="connsiteY19" fmla="*/ 2818517 h 3640901"/>
              <a:gd name="connsiteX20" fmla="*/ 2216586 w 4580225"/>
              <a:gd name="connsiteY20" fmla="*/ 2542472 h 3640901"/>
              <a:gd name="connsiteX21" fmla="*/ 2087190 w 4580225"/>
              <a:gd name="connsiteY21" fmla="*/ 2551098 h 3640901"/>
              <a:gd name="connsiteX22" fmla="*/ 1923288 w 4580225"/>
              <a:gd name="connsiteY22" fmla="*/ 2456207 h 3640901"/>
              <a:gd name="connsiteX23" fmla="*/ 1854277 w 4580225"/>
              <a:gd name="connsiteY23" fmla="*/ 2456207 h 3640901"/>
              <a:gd name="connsiteX24" fmla="*/ 1742133 w 4580225"/>
              <a:gd name="connsiteY24" fmla="*/ 2335438 h 3640901"/>
              <a:gd name="connsiteX25" fmla="*/ 1759386 w 4580225"/>
              <a:gd name="connsiteY25" fmla="*/ 2059392 h 3640901"/>
              <a:gd name="connsiteX26" fmla="*/ 1673122 w 4580225"/>
              <a:gd name="connsiteY26" fmla="*/ 1904117 h 3640901"/>
              <a:gd name="connsiteX27" fmla="*/ 1466088 w 4580225"/>
              <a:gd name="connsiteY27" fmla="*/ 1912743 h 3640901"/>
              <a:gd name="connsiteX28" fmla="*/ 1310813 w 4580225"/>
              <a:gd name="connsiteY28" fmla="*/ 1748841 h 3640901"/>
              <a:gd name="connsiteX29" fmla="*/ 1164164 w 4580225"/>
              <a:gd name="connsiteY29" fmla="*/ 1740215 h 3640901"/>
              <a:gd name="connsiteX30" fmla="*/ 1095152 w 4580225"/>
              <a:gd name="connsiteY30" fmla="*/ 1515928 h 3640901"/>
              <a:gd name="connsiteX31" fmla="*/ 974382 w 4580225"/>
              <a:gd name="connsiteY31" fmla="*/ 1472796 h 3640901"/>
              <a:gd name="connsiteX32" fmla="*/ 974382 w 4580225"/>
              <a:gd name="connsiteY32" fmla="*/ 1334773 h 3640901"/>
              <a:gd name="connsiteX33" fmla="*/ 948503 w 4580225"/>
              <a:gd name="connsiteY33" fmla="*/ 1222630 h 3640901"/>
              <a:gd name="connsiteX34" fmla="*/ 844986 w 4580225"/>
              <a:gd name="connsiteY34" fmla="*/ 1170872 h 3640901"/>
              <a:gd name="connsiteX35" fmla="*/ 793228 w 4580225"/>
              <a:gd name="connsiteY35" fmla="*/ 851694 h 3640901"/>
              <a:gd name="connsiteX36" fmla="*/ 741469 w 4580225"/>
              <a:gd name="connsiteY36" fmla="*/ 644660 h 3640901"/>
              <a:gd name="connsiteX37" fmla="*/ 741469 w 4580225"/>
              <a:gd name="connsiteY37" fmla="*/ 515264 h 3640901"/>
              <a:gd name="connsiteX38" fmla="*/ 732843 w 4580225"/>
              <a:gd name="connsiteY38" fmla="*/ 429000 h 3640901"/>
              <a:gd name="connsiteX39" fmla="*/ 612073 w 4580225"/>
              <a:gd name="connsiteY39" fmla="*/ 377241 h 3640901"/>
              <a:gd name="connsiteX40" fmla="*/ 517182 w 4580225"/>
              <a:gd name="connsiteY40" fmla="*/ 325483 h 3640901"/>
              <a:gd name="connsiteX41" fmla="*/ 405039 w 4580225"/>
              <a:gd name="connsiteY41" fmla="*/ 308230 h 3640901"/>
              <a:gd name="connsiteX42" fmla="*/ 267016 w 4580225"/>
              <a:gd name="connsiteY42" fmla="*/ 256472 h 3640901"/>
              <a:gd name="connsiteX43" fmla="*/ 120367 w 4580225"/>
              <a:gd name="connsiteY43" fmla="*/ 196087 h 3640901"/>
              <a:gd name="connsiteX44" fmla="*/ 51356 w 4580225"/>
              <a:gd name="connsiteY44" fmla="*/ 75317 h 3640901"/>
              <a:gd name="connsiteX45" fmla="*/ 39715 w 4580225"/>
              <a:gd name="connsiteY45" fmla="*/ 63117 h 3640901"/>
              <a:gd name="connsiteX0" fmla="*/ 4528869 w 4528869"/>
              <a:gd name="connsiteY0" fmla="*/ 3019245 h 3565584"/>
              <a:gd name="connsiteX1" fmla="*/ 4330460 w 4528869"/>
              <a:gd name="connsiteY1" fmla="*/ 3122762 h 3565584"/>
              <a:gd name="connsiteX2" fmla="*/ 4175185 w 4528869"/>
              <a:gd name="connsiteY2" fmla="*/ 3148641 h 3565584"/>
              <a:gd name="connsiteX3" fmla="*/ 4028536 w 4528869"/>
              <a:gd name="connsiteY3" fmla="*/ 3114136 h 3565584"/>
              <a:gd name="connsiteX4" fmla="*/ 3899140 w 4528869"/>
              <a:gd name="connsiteY4" fmla="*/ 3088256 h 3565584"/>
              <a:gd name="connsiteX5" fmla="*/ 3692106 w 4528869"/>
              <a:gd name="connsiteY5" fmla="*/ 3096883 h 3565584"/>
              <a:gd name="connsiteX6" fmla="*/ 3648974 w 4528869"/>
              <a:gd name="connsiteY6" fmla="*/ 3234906 h 3565584"/>
              <a:gd name="connsiteX7" fmla="*/ 3554083 w 4528869"/>
              <a:gd name="connsiteY7" fmla="*/ 3174521 h 3565584"/>
              <a:gd name="connsiteX8" fmla="*/ 3502325 w 4528869"/>
              <a:gd name="connsiteY8" fmla="*/ 3122762 h 3565584"/>
              <a:gd name="connsiteX9" fmla="*/ 3364302 w 4528869"/>
              <a:gd name="connsiteY9" fmla="*/ 3165894 h 3565584"/>
              <a:gd name="connsiteX10" fmla="*/ 3209026 w 4528869"/>
              <a:gd name="connsiteY10" fmla="*/ 3217653 h 3565584"/>
              <a:gd name="connsiteX11" fmla="*/ 3079630 w 4528869"/>
              <a:gd name="connsiteY11" fmla="*/ 3295290 h 3565584"/>
              <a:gd name="connsiteX12" fmla="*/ 3019245 w 4528869"/>
              <a:gd name="connsiteY12" fmla="*/ 3381555 h 3565584"/>
              <a:gd name="connsiteX13" fmla="*/ 2924355 w 4528869"/>
              <a:gd name="connsiteY13" fmla="*/ 3398807 h 3565584"/>
              <a:gd name="connsiteX14" fmla="*/ 2769079 w 4528869"/>
              <a:gd name="connsiteY14" fmla="*/ 3562709 h 3565584"/>
              <a:gd name="connsiteX15" fmla="*/ 2570672 w 4528869"/>
              <a:gd name="connsiteY15" fmla="*/ 3416060 h 3565584"/>
              <a:gd name="connsiteX16" fmla="*/ 2579298 w 4528869"/>
              <a:gd name="connsiteY16" fmla="*/ 3286664 h 3565584"/>
              <a:gd name="connsiteX17" fmla="*/ 2536166 w 4528869"/>
              <a:gd name="connsiteY17" fmla="*/ 3105509 h 3565584"/>
              <a:gd name="connsiteX18" fmla="*/ 2415396 w 4528869"/>
              <a:gd name="connsiteY18" fmla="*/ 2907102 h 3565584"/>
              <a:gd name="connsiteX19" fmla="*/ 2355011 w 4528869"/>
              <a:gd name="connsiteY19" fmla="*/ 2743200 h 3565584"/>
              <a:gd name="connsiteX20" fmla="*/ 2165230 w 4528869"/>
              <a:gd name="connsiteY20" fmla="*/ 2467155 h 3565584"/>
              <a:gd name="connsiteX21" fmla="*/ 2035834 w 4528869"/>
              <a:gd name="connsiteY21" fmla="*/ 2475781 h 3565584"/>
              <a:gd name="connsiteX22" fmla="*/ 1871932 w 4528869"/>
              <a:gd name="connsiteY22" fmla="*/ 2380890 h 3565584"/>
              <a:gd name="connsiteX23" fmla="*/ 1802921 w 4528869"/>
              <a:gd name="connsiteY23" fmla="*/ 2380890 h 3565584"/>
              <a:gd name="connsiteX24" fmla="*/ 1690777 w 4528869"/>
              <a:gd name="connsiteY24" fmla="*/ 2260121 h 3565584"/>
              <a:gd name="connsiteX25" fmla="*/ 1708030 w 4528869"/>
              <a:gd name="connsiteY25" fmla="*/ 1984075 h 3565584"/>
              <a:gd name="connsiteX26" fmla="*/ 1621766 w 4528869"/>
              <a:gd name="connsiteY26" fmla="*/ 1828800 h 3565584"/>
              <a:gd name="connsiteX27" fmla="*/ 1414732 w 4528869"/>
              <a:gd name="connsiteY27" fmla="*/ 1837426 h 3565584"/>
              <a:gd name="connsiteX28" fmla="*/ 1259457 w 4528869"/>
              <a:gd name="connsiteY28" fmla="*/ 1673524 h 3565584"/>
              <a:gd name="connsiteX29" fmla="*/ 1112808 w 4528869"/>
              <a:gd name="connsiteY29" fmla="*/ 1664898 h 3565584"/>
              <a:gd name="connsiteX30" fmla="*/ 1043796 w 4528869"/>
              <a:gd name="connsiteY30" fmla="*/ 1440611 h 3565584"/>
              <a:gd name="connsiteX31" fmla="*/ 923026 w 4528869"/>
              <a:gd name="connsiteY31" fmla="*/ 1397479 h 3565584"/>
              <a:gd name="connsiteX32" fmla="*/ 923026 w 4528869"/>
              <a:gd name="connsiteY32" fmla="*/ 1259456 h 3565584"/>
              <a:gd name="connsiteX33" fmla="*/ 897147 w 4528869"/>
              <a:gd name="connsiteY33" fmla="*/ 1147313 h 3565584"/>
              <a:gd name="connsiteX34" fmla="*/ 793630 w 4528869"/>
              <a:gd name="connsiteY34" fmla="*/ 1095555 h 3565584"/>
              <a:gd name="connsiteX35" fmla="*/ 741872 w 4528869"/>
              <a:gd name="connsiteY35" fmla="*/ 776377 h 3565584"/>
              <a:gd name="connsiteX36" fmla="*/ 690113 w 4528869"/>
              <a:gd name="connsiteY36" fmla="*/ 569343 h 3565584"/>
              <a:gd name="connsiteX37" fmla="*/ 690113 w 4528869"/>
              <a:gd name="connsiteY37" fmla="*/ 439947 h 3565584"/>
              <a:gd name="connsiteX38" fmla="*/ 681487 w 4528869"/>
              <a:gd name="connsiteY38" fmla="*/ 353683 h 3565584"/>
              <a:gd name="connsiteX39" fmla="*/ 560717 w 4528869"/>
              <a:gd name="connsiteY39" fmla="*/ 301924 h 3565584"/>
              <a:gd name="connsiteX40" fmla="*/ 465826 w 4528869"/>
              <a:gd name="connsiteY40" fmla="*/ 250166 h 3565584"/>
              <a:gd name="connsiteX41" fmla="*/ 353683 w 4528869"/>
              <a:gd name="connsiteY41" fmla="*/ 232913 h 3565584"/>
              <a:gd name="connsiteX42" fmla="*/ 215660 w 4528869"/>
              <a:gd name="connsiteY42" fmla="*/ 181155 h 3565584"/>
              <a:gd name="connsiteX43" fmla="*/ 69011 w 4528869"/>
              <a:gd name="connsiteY43" fmla="*/ 120770 h 3565584"/>
              <a:gd name="connsiteX44" fmla="*/ 0 w 4528869"/>
              <a:gd name="connsiteY44" fmla="*/ 0 h 3565584"/>
              <a:gd name="connsiteX0" fmla="*/ 4539551 w 4539551"/>
              <a:gd name="connsiteY0" fmla="*/ 3041461 h 3587800"/>
              <a:gd name="connsiteX1" fmla="*/ 4341142 w 4539551"/>
              <a:gd name="connsiteY1" fmla="*/ 3144978 h 3587800"/>
              <a:gd name="connsiteX2" fmla="*/ 4185867 w 4539551"/>
              <a:gd name="connsiteY2" fmla="*/ 3170857 h 3587800"/>
              <a:gd name="connsiteX3" fmla="*/ 4039218 w 4539551"/>
              <a:gd name="connsiteY3" fmla="*/ 3136352 h 3587800"/>
              <a:gd name="connsiteX4" fmla="*/ 3909822 w 4539551"/>
              <a:gd name="connsiteY4" fmla="*/ 3110472 h 3587800"/>
              <a:gd name="connsiteX5" fmla="*/ 3702788 w 4539551"/>
              <a:gd name="connsiteY5" fmla="*/ 3119099 h 3587800"/>
              <a:gd name="connsiteX6" fmla="*/ 3659656 w 4539551"/>
              <a:gd name="connsiteY6" fmla="*/ 3257122 h 3587800"/>
              <a:gd name="connsiteX7" fmla="*/ 3564765 w 4539551"/>
              <a:gd name="connsiteY7" fmla="*/ 3196737 h 3587800"/>
              <a:gd name="connsiteX8" fmla="*/ 3513007 w 4539551"/>
              <a:gd name="connsiteY8" fmla="*/ 3144978 h 3587800"/>
              <a:gd name="connsiteX9" fmla="*/ 3374984 w 4539551"/>
              <a:gd name="connsiteY9" fmla="*/ 3188110 h 3587800"/>
              <a:gd name="connsiteX10" fmla="*/ 3219708 w 4539551"/>
              <a:gd name="connsiteY10" fmla="*/ 3239869 h 3587800"/>
              <a:gd name="connsiteX11" fmla="*/ 3090312 w 4539551"/>
              <a:gd name="connsiteY11" fmla="*/ 3317506 h 3587800"/>
              <a:gd name="connsiteX12" fmla="*/ 3029927 w 4539551"/>
              <a:gd name="connsiteY12" fmla="*/ 3403771 h 3587800"/>
              <a:gd name="connsiteX13" fmla="*/ 2935037 w 4539551"/>
              <a:gd name="connsiteY13" fmla="*/ 3421023 h 3587800"/>
              <a:gd name="connsiteX14" fmla="*/ 2779761 w 4539551"/>
              <a:gd name="connsiteY14" fmla="*/ 3584925 h 3587800"/>
              <a:gd name="connsiteX15" fmla="*/ 2581354 w 4539551"/>
              <a:gd name="connsiteY15" fmla="*/ 3438276 h 3587800"/>
              <a:gd name="connsiteX16" fmla="*/ 2589980 w 4539551"/>
              <a:gd name="connsiteY16" fmla="*/ 3308880 h 3587800"/>
              <a:gd name="connsiteX17" fmla="*/ 2546848 w 4539551"/>
              <a:gd name="connsiteY17" fmla="*/ 3127725 h 3587800"/>
              <a:gd name="connsiteX18" fmla="*/ 2426078 w 4539551"/>
              <a:gd name="connsiteY18" fmla="*/ 2929318 h 3587800"/>
              <a:gd name="connsiteX19" fmla="*/ 2365693 w 4539551"/>
              <a:gd name="connsiteY19" fmla="*/ 2765416 h 3587800"/>
              <a:gd name="connsiteX20" fmla="*/ 2175912 w 4539551"/>
              <a:gd name="connsiteY20" fmla="*/ 2489371 h 3587800"/>
              <a:gd name="connsiteX21" fmla="*/ 2046516 w 4539551"/>
              <a:gd name="connsiteY21" fmla="*/ 2497997 h 3587800"/>
              <a:gd name="connsiteX22" fmla="*/ 1882614 w 4539551"/>
              <a:gd name="connsiteY22" fmla="*/ 2403106 h 3587800"/>
              <a:gd name="connsiteX23" fmla="*/ 1813603 w 4539551"/>
              <a:gd name="connsiteY23" fmla="*/ 2403106 h 3587800"/>
              <a:gd name="connsiteX24" fmla="*/ 1701459 w 4539551"/>
              <a:gd name="connsiteY24" fmla="*/ 2282337 h 3587800"/>
              <a:gd name="connsiteX25" fmla="*/ 1718712 w 4539551"/>
              <a:gd name="connsiteY25" fmla="*/ 2006291 h 3587800"/>
              <a:gd name="connsiteX26" fmla="*/ 1632448 w 4539551"/>
              <a:gd name="connsiteY26" fmla="*/ 1851016 h 3587800"/>
              <a:gd name="connsiteX27" fmla="*/ 1425414 w 4539551"/>
              <a:gd name="connsiteY27" fmla="*/ 1859642 h 3587800"/>
              <a:gd name="connsiteX28" fmla="*/ 1270139 w 4539551"/>
              <a:gd name="connsiteY28" fmla="*/ 1695740 h 3587800"/>
              <a:gd name="connsiteX29" fmla="*/ 1123490 w 4539551"/>
              <a:gd name="connsiteY29" fmla="*/ 1687114 h 3587800"/>
              <a:gd name="connsiteX30" fmla="*/ 1054478 w 4539551"/>
              <a:gd name="connsiteY30" fmla="*/ 1462827 h 3587800"/>
              <a:gd name="connsiteX31" fmla="*/ 933708 w 4539551"/>
              <a:gd name="connsiteY31" fmla="*/ 1419695 h 3587800"/>
              <a:gd name="connsiteX32" fmla="*/ 933708 w 4539551"/>
              <a:gd name="connsiteY32" fmla="*/ 1281672 h 3587800"/>
              <a:gd name="connsiteX33" fmla="*/ 907829 w 4539551"/>
              <a:gd name="connsiteY33" fmla="*/ 1169529 h 3587800"/>
              <a:gd name="connsiteX34" fmla="*/ 804312 w 4539551"/>
              <a:gd name="connsiteY34" fmla="*/ 1117771 h 3587800"/>
              <a:gd name="connsiteX35" fmla="*/ 752554 w 4539551"/>
              <a:gd name="connsiteY35" fmla="*/ 798593 h 3587800"/>
              <a:gd name="connsiteX36" fmla="*/ 700795 w 4539551"/>
              <a:gd name="connsiteY36" fmla="*/ 591559 h 3587800"/>
              <a:gd name="connsiteX37" fmla="*/ 700795 w 4539551"/>
              <a:gd name="connsiteY37" fmla="*/ 462163 h 3587800"/>
              <a:gd name="connsiteX38" fmla="*/ 692169 w 4539551"/>
              <a:gd name="connsiteY38" fmla="*/ 375899 h 3587800"/>
              <a:gd name="connsiteX39" fmla="*/ 571399 w 4539551"/>
              <a:gd name="connsiteY39" fmla="*/ 324140 h 3587800"/>
              <a:gd name="connsiteX40" fmla="*/ 476508 w 4539551"/>
              <a:gd name="connsiteY40" fmla="*/ 272382 h 3587800"/>
              <a:gd name="connsiteX41" fmla="*/ 364365 w 4539551"/>
              <a:gd name="connsiteY41" fmla="*/ 255129 h 3587800"/>
              <a:gd name="connsiteX42" fmla="*/ 226342 w 4539551"/>
              <a:gd name="connsiteY42" fmla="*/ 203371 h 3587800"/>
              <a:gd name="connsiteX43" fmla="*/ 79693 w 4539551"/>
              <a:gd name="connsiteY43" fmla="*/ 142986 h 3587800"/>
              <a:gd name="connsiteX44" fmla="*/ 10682 w 4539551"/>
              <a:gd name="connsiteY44" fmla="*/ 22216 h 3587800"/>
              <a:gd name="connsiteX45" fmla="*/ 15601 w 4539551"/>
              <a:gd name="connsiteY45" fmla="*/ 9689 h 3587800"/>
              <a:gd name="connsiteX0" fmla="*/ 4528869 w 4528869"/>
              <a:gd name="connsiteY0" fmla="*/ 3019245 h 3565584"/>
              <a:gd name="connsiteX1" fmla="*/ 4330460 w 4528869"/>
              <a:gd name="connsiteY1" fmla="*/ 3122762 h 3565584"/>
              <a:gd name="connsiteX2" fmla="*/ 4175185 w 4528869"/>
              <a:gd name="connsiteY2" fmla="*/ 3148641 h 3565584"/>
              <a:gd name="connsiteX3" fmla="*/ 4028536 w 4528869"/>
              <a:gd name="connsiteY3" fmla="*/ 3114136 h 3565584"/>
              <a:gd name="connsiteX4" fmla="*/ 3899140 w 4528869"/>
              <a:gd name="connsiteY4" fmla="*/ 3088256 h 3565584"/>
              <a:gd name="connsiteX5" fmla="*/ 3692106 w 4528869"/>
              <a:gd name="connsiteY5" fmla="*/ 3096883 h 3565584"/>
              <a:gd name="connsiteX6" fmla="*/ 3648974 w 4528869"/>
              <a:gd name="connsiteY6" fmla="*/ 3234906 h 3565584"/>
              <a:gd name="connsiteX7" fmla="*/ 3554083 w 4528869"/>
              <a:gd name="connsiteY7" fmla="*/ 3174521 h 3565584"/>
              <a:gd name="connsiteX8" fmla="*/ 3502325 w 4528869"/>
              <a:gd name="connsiteY8" fmla="*/ 3122762 h 3565584"/>
              <a:gd name="connsiteX9" fmla="*/ 3364302 w 4528869"/>
              <a:gd name="connsiteY9" fmla="*/ 3165894 h 3565584"/>
              <a:gd name="connsiteX10" fmla="*/ 3209026 w 4528869"/>
              <a:gd name="connsiteY10" fmla="*/ 3217653 h 3565584"/>
              <a:gd name="connsiteX11" fmla="*/ 3079630 w 4528869"/>
              <a:gd name="connsiteY11" fmla="*/ 3295290 h 3565584"/>
              <a:gd name="connsiteX12" fmla="*/ 3019245 w 4528869"/>
              <a:gd name="connsiteY12" fmla="*/ 3381555 h 3565584"/>
              <a:gd name="connsiteX13" fmla="*/ 2924355 w 4528869"/>
              <a:gd name="connsiteY13" fmla="*/ 3398807 h 3565584"/>
              <a:gd name="connsiteX14" fmla="*/ 2769079 w 4528869"/>
              <a:gd name="connsiteY14" fmla="*/ 3562709 h 3565584"/>
              <a:gd name="connsiteX15" fmla="*/ 2570672 w 4528869"/>
              <a:gd name="connsiteY15" fmla="*/ 3416060 h 3565584"/>
              <a:gd name="connsiteX16" fmla="*/ 2579298 w 4528869"/>
              <a:gd name="connsiteY16" fmla="*/ 3286664 h 3565584"/>
              <a:gd name="connsiteX17" fmla="*/ 2536166 w 4528869"/>
              <a:gd name="connsiteY17" fmla="*/ 3105509 h 3565584"/>
              <a:gd name="connsiteX18" fmla="*/ 2415396 w 4528869"/>
              <a:gd name="connsiteY18" fmla="*/ 2907102 h 3565584"/>
              <a:gd name="connsiteX19" fmla="*/ 2355011 w 4528869"/>
              <a:gd name="connsiteY19" fmla="*/ 2743200 h 3565584"/>
              <a:gd name="connsiteX20" fmla="*/ 2165230 w 4528869"/>
              <a:gd name="connsiteY20" fmla="*/ 2467155 h 3565584"/>
              <a:gd name="connsiteX21" fmla="*/ 2035834 w 4528869"/>
              <a:gd name="connsiteY21" fmla="*/ 2475781 h 3565584"/>
              <a:gd name="connsiteX22" fmla="*/ 1871932 w 4528869"/>
              <a:gd name="connsiteY22" fmla="*/ 2380890 h 3565584"/>
              <a:gd name="connsiteX23" fmla="*/ 1802921 w 4528869"/>
              <a:gd name="connsiteY23" fmla="*/ 2380890 h 3565584"/>
              <a:gd name="connsiteX24" fmla="*/ 1690777 w 4528869"/>
              <a:gd name="connsiteY24" fmla="*/ 2260121 h 3565584"/>
              <a:gd name="connsiteX25" fmla="*/ 1708030 w 4528869"/>
              <a:gd name="connsiteY25" fmla="*/ 1984075 h 3565584"/>
              <a:gd name="connsiteX26" fmla="*/ 1621766 w 4528869"/>
              <a:gd name="connsiteY26" fmla="*/ 1828800 h 3565584"/>
              <a:gd name="connsiteX27" fmla="*/ 1414732 w 4528869"/>
              <a:gd name="connsiteY27" fmla="*/ 1837426 h 3565584"/>
              <a:gd name="connsiteX28" fmla="*/ 1259457 w 4528869"/>
              <a:gd name="connsiteY28" fmla="*/ 1673524 h 3565584"/>
              <a:gd name="connsiteX29" fmla="*/ 1112808 w 4528869"/>
              <a:gd name="connsiteY29" fmla="*/ 1664898 h 3565584"/>
              <a:gd name="connsiteX30" fmla="*/ 1043796 w 4528869"/>
              <a:gd name="connsiteY30" fmla="*/ 1440611 h 3565584"/>
              <a:gd name="connsiteX31" fmla="*/ 923026 w 4528869"/>
              <a:gd name="connsiteY31" fmla="*/ 1397479 h 3565584"/>
              <a:gd name="connsiteX32" fmla="*/ 923026 w 4528869"/>
              <a:gd name="connsiteY32" fmla="*/ 1259456 h 3565584"/>
              <a:gd name="connsiteX33" fmla="*/ 897147 w 4528869"/>
              <a:gd name="connsiteY33" fmla="*/ 1147313 h 3565584"/>
              <a:gd name="connsiteX34" fmla="*/ 793630 w 4528869"/>
              <a:gd name="connsiteY34" fmla="*/ 1095555 h 3565584"/>
              <a:gd name="connsiteX35" fmla="*/ 741872 w 4528869"/>
              <a:gd name="connsiteY35" fmla="*/ 776377 h 3565584"/>
              <a:gd name="connsiteX36" fmla="*/ 690113 w 4528869"/>
              <a:gd name="connsiteY36" fmla="*/ 569343 h 3565584"/>
              <a:gd name="connsiteX37" fmla="*/ 690113 w 4528869"/>
              <a:gd name="connsiteY37" fmla="*/ 439947 h 3565584"/>
              <a:gd name="connsiteX38" fmla="*/ 681487 w 4528869"/>
              <a:gd name="connsiteY38" fmla="*/ 353683 h 3565584"/>
              <a:gd name="connsiteX39" fmla="*/ 560717 w 4528869"/>
              <a:gd name="connsiteY39" fmla="*/ 301924 h 3565584"/>
              <a:gd name="connsiteX40" fmla="*/ 465826 w 4528869"/>
              <a:gd name="connsiteY40" fmla="*/ 250166 h 3565584"/>
              <a:gd name="connsiteX41" fmla="*/ 353683 w 4528869"/>
              <a:gd name="connsiteY41" fmla="*/ 232913 h 3565584"/>
              <a:gd name="connsiteX42" fmla="*/ 215660 w 4528869"/>
              <a:gd name="connsiteY42" fmla="*/ 181155 h 3565584"/>
              <a:gd name="connsiteX43" fmla="*/ 69011 w 4528869"/>
              <a:gd name="connsiteY43" fmla="*/ 120770 h 3565584"/>
              <a:gd name="connsiteX44" fmla="*/ 0 w 4528869"/>
              <a:gd name="connsiteY44" fmla="*/ 0 h 3565584"/>
              <a:gd name="connsiteX0" fmla="*/ 4459858 w 4459858"/>
              <a:gd name="connsiteY0" fmla="*/ 2898475 h 3444814"/>
              <a:gd name="connsiteX1" fmla="*/ 4261449 w 4459858"/>
              <a:gd name="connsiteY1" fmla="*/ 3001992 h 3444814"/>
              <a:gd name="connsiteX2" fmla="*/ 4106174 w 4459858"/>
              <a:gd name="connsiteY2" fmla="*/ 3027871 h 3444814"/>
              <a:gd name="connsiteX3" fmla="*/ 3959525 w 4459858"/>
              <a:gd name="connsiteY3" fmla="*/ 2993366 h 3444814"/>
              <a:gd name="connsiteX4" fmla="*/ 3830129 w 4459858"/>
              <a:gd name="connsiteY4" fmla="*/ 2967486 h 3444814"/>
              <a:gd name="connsiteX5" fmla="*/ 3623095 w 4459858"/>
              <a:gd name="connsiteY5" fmla="*/ 2976113 h 3444814"/>
              <a:gd name="connsiteX6" fmla="*/ 3579963 w 4459858"/>
              <a:gd name="connsiteY6" fmla="*/ 3114136 h 3444814"/>
              <a:gd name="connsiteX7" fmla="*/ 3485072 w 4459858"/>
              <a:gd name="connsiteY7" fmla="*/ 3053751 h 3444814"/>
              <a:gd name="connsiteX8" fmla="*/ 3433314 w 4459858"/>
              <a:gd name="connsiteY8" fmla="*/ 3001992 h 3444814"/>
              <a:gd name="connsiteX9" fmla="*/ 3295291 w 4459858"/>
              <a:gd name="connsiteY9" fmla="*/ 3045124 h 3444814"/>
              <a:gd name="connsiteX10" fmla="*/ 3140015 w 4459858"/>
              <a:gd name="connsiteY10" fmla="*/ 3096883 h 3444814"/>
              <a:gd name="connsiteX11" fmla="*/ 3010619 w 4459858"/>
              <a:gd name="connsiteY11" fmla="*/ 3174520 h 3444814"/>
              <a:gd name="connsiteX12" fmla="*/ 2950234 w 4459858"/>
              <a:gd name="connsiteY12" fmla="*/ 3260785 h 3444814"/>
              <a:gd name="connsiteX13" fmla="*/ 2855344 w 4459858"/>
              <a:gd name="connsiteY13" fmla="*/ 3278037 h 3444814"/>
              <a:gd name="connsiteX14" fmla="*/ 2700068 w 4459858"/>
              <a:gd name="connsiteY14" fmla="*/ 3441939 h 3444814"/>
              <a:gd name="connsiteX15" fmla="*/ 2501661 w 4459858"/>
              <a:gd name="connsiteY15" fmla="*/ 3295290 h 3444814"/>
              <a:gd name="connsiteX16" fmla="*/ 2510287 w 4459858"/>
              <a:gd name="connsiteY16" fmla="*/ 3165894 h 3444814"/>
              <a:gd name="connsiteX17" fmla="*/ 2467155 w 4459858"/>
              <a:gd name="connsiteY17" fmla="*/ 2984739 h 3444814"/>
              <a:gd name="connsiteX18" fmla="*/ 2346385 w 4459858"/>
              <a:gd name="connsiteY18" fmla="*/ 2786332 h 3444814"/>
              <a:gd name="connsiteX19" fmla="*/ 2286000 w 4459858"/>
              <a:gd name="connsiteY19" fmla="*/ 2622430 h 3444814"/>
              <a:gd name="connsiteX20" fmla="*/ 2096219 w 4459858"/>
              <a:gd name="connsiteY20" fmla="*/ 2346385 h 3444814"/>
              <a:gd name="connsiteX21" fmla="*/ 1966823 w 4459858"/>
              <a:gd name="connsiteY21" fmla="*/ 2355011 h 3444814"/>
              <a:gd name="connsiteX22" fmla="*/ 1802921 w 4459858"/>
              <a:gd name="connsiteY22" fmla="*/ 2260120 h 3444814"/>
              <a:gd name="connsiteX23" fmla="*/ 1733910 w 4459858"/>
              <a:gd name="connsiteY23" fmla="*/ 2260120 h 3444814"/>
              <a:gd name="connsiteX24" fmla="*/ 1621766 w 4459858"/>
              <a:gd name="connsiteY24" fmla="*/ 2139351 h 3444814"/>
              <a:gd name="connsiteX25" fmla="*/ 1639019 w 4459858"/>
              <a:gd name="connsiteY25" fmla="*/ 1863305 h 3444814"/>
              <a:gd name="connsiteX26" fmla="*/ 1552755 w 4459858"/>
              <a:gd name="connsiteY26" fmla="*/ 1708030 h 3444814"/>
              <a:gd name="connsiteX27" fmla="*/ 1345721 w 4459858"/>
              <a:gd name="connsiteY27" fmla="*/ 1716656 h 3444814"/>
              <a:gd name="connsiteX28" fmla="*/ 1190446 w 4459858"/>
              <a:gd name="connsiteY28" fmla="*/ 1552754 h 3444814"/>
              <a:gd name="connsiteX29" fmla="*/ 1043797 w 4459858"/>
              <a:gd name="connsiteY29" fmla="*/ 1544128 h 3444814"/>
              <a:gd name="connsiteX30" fmla="*/ 974785 w 4459858"/>
              <a:gd name="connsiteY30" fmla="*/ 1319841 h 3444814"/>
              <a:gd name="connsiteX31" fmla="*/ 854015 w 4459858"/>
              <a:gd name="connsiteY31" fmla="*/ 1276709 h 3444814"/>
              <a:gd name="connsiteX32" fmla="*/ 854015 w 4459858"/>
              <a:gd name="connsiteY32" fmla="*/ 1138686 h 3444814"/>
              <a:gd name="connsiteX33" fmla="*/ 828136 w 4459858"/>
              <a:gd name="connsiteY33" fmla="*/ 1026543 h 3444814"/>
              <a:gd name="connsiteX34" fmla="*/ 724619 w 4459858"/>
              <a:gd name="connsiteY34" fmla="*/ 974785 h 3444814"/>
              <a:gd name="connsiteX35" fmla="*/ 672861 w 4459858"/>
              <a:gd name="connsiteY35" fmla="*/ 655607 h 3444814"/>
              <a:gd name="connsiteX36" fmla="*/ 621102 w 4459858"/>
              <a:gd name="connsiteY36" fmla="*/ 448573 h 3444814"/>
              <a:gd name="connsiteX37" fmla="*/ 621102 w 4459858"/>
              <a:gd name="connsiteY37" fmla="*/ 319177 h 3444814"/>
              <a:gd name="connsiteX38" fmla="*/ 612476 w 4459858"/>
              <a:gd name="connsiteY38" fmla="*/ 232913 h 3444814"/>
              <a:gd name="connsiteX39" fmla="*/ 491706 w 4459858"/>
              <a:gd name="connsiteY39" fmla="*/ 181154 h 3444814"/>
              <a:gd name="connsiteX40" fmla="*/ 396815 w 4459858"/>
              <a:gd name="connsiteY40" fmla="*/ 129396 h 3444814"/>
              <a:gd name="connsiteX41" fmla="*/ 284672 w 4459858"/>
              <a:gd name="connsiteY41" fmla="*/ 112143 h 3444814"/>
              <a:gd name="connsiteX42" fmla="*/ 146649 w 4459858"/>
              <a:gd name="connsiteY42" fmla="*/ 60385 h 3444814"/>
              <a:gd name="connsiteX43" fmla="*/ 0 w 4459858"/>
              <a:gd name="connsiteY43" fmla="*/ 0 h 3444814"/>
              <a:gd name="connsiteX0" fmla="*/ 4313209 w 4313209"/>
              <a:gd name="connsiteY0" fmla="*/ 2838090 h 3384429"/>
              <a:gd name="connsiteX1" fmla="*/ 4114800 w 4313209"/>
              <a:gd name="connsiteY1" fmla="*/ 2941607 h 3384429"/>
              <a:gd name="connsiteX2" fmla="*/ 3959525 w 4313209"/>
              <a:gd name="connsiteY2" fmla="*/ 2967486 h 3384429"/>
              <a:gd name="connsiteX3" fmla="*/ 3812876 w 4313209"/>
              <a:gd name="connsiteY3" fmla="*/ 2932981 h 3384429"/>
              <a:gd name="connsiteX4" fmla="*/ 3683480 w 4313209"/>
              <a:gd name="connsiteY4" fmla="*/ 2907101 h 3384429"/>
              <a:gd name="connsiteX5" fmla="*/ 3476446 w 4313209"/>
              <a:gd name="connsiteY5" fmla="*/ 2915728 h 3384429"/>
              <a:gd name="connsiteX6" fmla="*/ 3433314 w 4313209"/>
              <a:gd name="connsiteY6" fmla="*/ 3053751 h 3384429"/>
              <a:gd name="connsiteX7" fmla="*/ 3338423 w 4313209"/>
              <a:gd name="connsiteY7" fmla="*/ 2993366 h 3384429"/>
              <a:gd name="connsiteX8" fmla="*/ 3286665 w 4313209"/>
              <a:gd name="connsiteY8" fmla="*/ 2941607 h 3384429"/>
              <a:gd name="connsiteX9" fmla="*/ 3148642 w 4313209"/>
              <a:gd name="connsiteY9" fmla="*/ 2984739 h 3384429"/>
              <a:gd name="connsiteX10" fmla="*/ 2993366 w 4313209"/>
              <a:gd name="connsiteY10" fmla="*/ 3036498 h 3384429"/>
              <a:gd name="connsiteX11" fmla="*/ 2863970 w 4313209"/>
              <a:gd name="connsiteY11" fmla="*/ 3114135 h 3384429"/>
              <a:gd name="connsiteX12" fmla="*/ 2803585 w 4313209"/>
              <a:gd name="connsiteY12" fmla="*/ 3200400 h 3384429"/>
              <a:gd name="connsiteX13" fmla="*/ 2708695 w 4313209"/>
              <a:gd name="connsiteY13" fmla="*/ 3217652 h 3384429"/>
              <a:gd name="connsiteX14" fmla="*/ 2553419 w 4313209"/>
              <a:gd name="connsiteY14" fmla="*/ 3381554 h 3384429"/>
              <a:gd name="connsiteX15" fmla="*/ 2355012 w 4313209"/>
              <a:gd name="connsiteY15" fmla="*/ 3234905 h 3384429"/>
              <a:gd name="connsiteX16" fmla="*/ 2363638 w 4313209"/>
              <a:gd name="connsiteY16" fmla="*/ 3105509 h 3384429"/>
              <a:gd name="connsiteX17" fmla="*/ 2320506 w 4313209"/>
              <a:gd name="connsiteY17" fmla="*/ 2924354 h 3384429"/>
              <a:gd name="connsiteX18" fmla="*/ 2199736 w 4313209"/>
              <a:gd name="connsiteY18" fmla="*/ 2725947 h 3384429"/>
              <a:gd name="connsiteX19" fmla="*/ 2139351 w 4313209"/>
              <a:gd name="connsiteY19" fmla="*/ 2562045 h 3384429"/>
              <a:gd name="connsiteX20" fmla="*/ 1949570 w 4313209"/>
              <a:gd name="connsiteY20" fmla="*/ 2286000 h 3384429"/>
              <a:gd name="connsiteX21" fmla="*/ 1820174 w 4313209"/>
              <a:gd name="connsiteY21" fmla="*/ 2294626 h 3384429"/>
              <a:gd name="connsiteX22" fmla="*/ 1656272 w 4313209"/>
              <a:gd name="connsiteY22" fmla="*/ 2199735 h 3384429"/>
              <a:gd name="connsiteX23" fmla="*/ 1587261 w 4313209"/>
              <a:gd name="connsiteY23" fmla="*/ 2199735 h 3384429"/>
              <a:gd name="connsiteX24" fmla="*/ 1475117 w 4313209"/>
              <a:gd name="connsiteY24" fmla="*/ 2078966 h 3384429"/>
              <a:gd name="connsiteX25" fmla="*/ 1492370 w 4313209"/>
              <a:gd name="connsiteY25" fmla="*/ 1802920 h 3384429"/>
              <a:gd name="connsiteX26" fmla="*/ 1406106 w 4313209"/>
              <a:gd name="connsiteY26" fmla="*/ 1647645 h 3384429"/>
              <a:gd name="connsiteX27" fmla="*/ 1199072 w 4313209"/>
              <a:gd name="connsiteY27" fmla="*/ 1656271 h 3384429"/>
              <a:gd name="connsiteX28" fmla="*/ 1043797 w 4313209"/>
              <a:gd name="connsiteY28" fmla="*/ 1492369 h 3384429"/>
              <a:gd name="connsiteX29" fmla="*/ 897148 w 4313209"/>
              <a:gd name="connsiteY29" fmla="*/ 1483743 h 3384429"/>
              <a:gd name="connsiteX30" fmla="*/ 828136 w 4313209"/>
              <a:gd name="connsiteY30" fmla="*/ 1259456 h 3384429"/>
              <a:gd name="connsiteX31" fmla="*/ 707366 w 4313209"/>
              <a:gd name="connsiteY31" fmla="*/ 1216324 h 3384429"/>
              <a:gd name="connsiteX32" fmla="*/ 707366 w 4313209"/>
              <a:gd name="connsiteY32" fmla="*/ 1078301 h 3384429"/>
              <a:gd name="connsiteX33" fmla="*/ 681487 w 4313209"/>
              <a:gd name="connsiteY33" fmla="*/ 966158 h 3384429"/>
              <a:gd name="connsiteX34" fmla="*/ 577970 w 4313209"/>
              <a:gd name="connsiteY34" fmla="*/ 914400 h 3384429"/>
              <a:gd name="connsiteX35" fmla="*/ 526212 w 4313209"/>
              <a:gd name="connsiteY35" fmla="*/ 595222 h 3384429"/>
              <a:gd name="connsiteX36" fmla="*/ 474453 w 4313209"/>
              <a:gd name="connsiteY36" fmla="*/ 388188 h 3384429"/>
              <a:gd name="connsiteX37" fmla="*/ 474453 w 4313209"/>
              <a:gd name="connsiteY37" fmla="*/ 258792 h 3384429"/>
              <a:gd name="connsiteX38" fmla="*/ 465827 w 4313209"/>
              <a:gd name="connsiteY38" fmla="*/ 172528 h 3384429"/>
              <a:gd name="connsiteX39" fmla="*/ 345057 w 4313209"/>
              <a:gd name="connsiteY39" fmla="*/ 120769 h 3384429"/>
              <a:gd name="connsiteX40" fmla="*/ 250166 w 4313209"/>
              <a:gd name="connsiteY40" fmla="*/ 69011 h 3384429"/>
              <a:gd name="connsiteX41" fmla="*/ 138023 w 4313209"/>
              <a:gd name="connsiteY41" fmla="*/ 51758 h 3384429"/>
              <a:gd name="connsiteX42" fmla="*/ 0 w 4313209"/>
              <a:gd name="connsiteY42" fmla="*/ 0 h 3384429"/>
              <a:gd name="connsiteX0" fmla="*/ 4175186 w 4175186"/>
              <a:gd name="connsiteY0" fmla="*/ 2786332 h 3332671"/>
              <a:gd name="connsiteX1" fmla="*/ 3976777 w 4175186"/>
              <a:gd name="connsiteY1" fmla="*/ 2889849 h 3332671"/>
              <a:gd name="connsiteX2" fmla="*/ 3821502 w 4175186"/>
              <a:gd name="connsiteY2" fmla="*/ 2915728 h 3332671"/>
              <a:gd name="connsiteX3" fmla="*/ 3674853 w 4175186"/>
              <a:gd name="connsiteY3" fmla="*/ 2881223 h 3332671"/>
              <a:gd name="connsiteX4" fmla="*/ 3545457 w 4175186"/>
              <a:gd name="connsiteY4" fmla="*/ 2855343 h 3332671"/>
              <a:gd name="connsiteX5" fmla="*/ 3338423 w 4175186"/>
              <a:gd name="connsiteY5" fmla="*/ 2863970 h 3332671"/>
              <a:gd name="connsiteX6" fmla="*/ 3295291 w 4175186"/>
              <a:gd name="connsiteY6" fmla="*/ 3001993 h 3332671"/>
              <a:gd name="connsiteX7" fmla="*/ 3200400 w 4175186"/>
              <a:gd name="connsiteY7" fmla="*/ 2941608 h 3332671"/>
              <a:gd name="connsiteX8" fmla="*/ 3148642 w 4175186"/>
              <a:gd name="connsiteY8" fmla="*/ 2889849 h 3332671"/>
              <a:gd name="connsiteX9" fmla="*/ 3010619 w 4175186"/>
              <a:gd name="connsiteY9" fmla="*/ 2932981 h 3332671"/>
              <a:gd name="connsiteX10" fmla="*/ 2855343 w 4175186"/>
              <a:gd name="connsiteY10" fmla="*/ 2984740 h 3332671"/>
              <a:gd name="connsiteX11" fmla="*/ 2725947 w 4175186"/>
              <a:gd name="connsiteY11" fmla="*/ 3062377 h 3332671"/>
              <a:gd name="connsiteX12" fmla="*/ 2665562 w 4175186"/>
              <a:gd name="connsiteY12" fmla="*/ 3148642 h 3332671"/>
              <a:gd name="connsiteX13" fmla="*/ 2570672 w 4175186"/>
              <a:gd name="connsiteY13" fmla="*/ 3165894 h 3332671"/>
              <a:gd name="connsiteX14" fmla="*/ 2415396 w 4175186"/>
              <a:gd name="connsiteY14" fmla="*/ 3329796 h 3332671"/>
              <a:gd name="connsiteX15" fmla="*/ 2216989 w 4175186"/>
              <a:gd name="connsiteY15" fmla="*/ 3183147 h 3332671"/>
              <a:gd name="connsiteX16" fmla="*/ 2225615 w 4175186"/>
              <a:gd name="connsiteY16" fmla="*/ 3053751 h 3332671"/>
              <a:gd name="connsiteX17" fmla="*/ 2182483 w 4175186"/>
              <a:gd name="connsiteY17" fmla="*/ 2872596 h 3332671"/>
              <a:gd name="connsiteX18" fmla="*/ 2061713 w 4175186"/>
              <a:gd name="connsiteY18" fmla="*/ 2674189 h 3332671"/>
              <a:gd name="connsiteX19" fmla="*/ 2001328 w 4175186"/>
              <a:gd name="connsiteY19" fmla="*/ 2510287 h 3332671"/>
              <a:gd name="connsiteX20" fmla="*/ 1811547 w 4175186"/>
              <a:gd name="connsiteY20" fmla="*/ 2234242 h 3332671"/>
              <a:gd name="connsiteX21" fmla="*/ 1682151 w 4175186"/>
              <a:gd name="connsiteY21" fmla="*/ 2242868 h 3332671"/>
              <a:gd name="connsiteX22" fmla="*/ 1518249 w 4175186"/>
              <a:gd name="connsiteY22" fmla="*/ 2147977 h 3332671"/>
              <a:gd name="connsiteX23" fmla="*/ 1449238 w 4175186"/>
              <a:gd name="connsiteY23" fmla="*/ 2147977 h 3332671"/>
              <a:gd name="connsiteX24" fmla="*/ 1337094 w 4175186"/>
              <a:gd name="connsiteY24" fmla="*/ 2027208 h 3332671"/>
              <a:gd name="connsiteX25" fmla="*/ 1354347 w 4175186"/>
              <a:gd name="connsiteY25" fmla="*/ 1751162 h 3332671"/>
              <a:gd name="connsiteX26" fmla="*/ 1268083 w 4175186"/>
              <a:gd name="connsiteY26" fmla="*/ 1595887 h 3332671"/>
              <a:gd name="connsiteX27" fmla="*/ 1061049 w 4175186"/>
              <a:gd name="connsiteY27" fmla="*/ 1604513 h 3332671"/>
              <a:gd name="connsiteX28" fmla="*/ 905774 w 4175186"/>
              <a:gd name="connsiteY28" fmla="*/ 1440611 h 3332671"/>
              <a:gd name="connsiteX29" fmla="*/ 759125 w 4175186"/>
              <a:gd name="connsiteY29" fmla="*/ 1431985 h 3332671"/>
              <a:gd name="connsiteX30" fmla="*/ 690113 w 4175186"/>
              <a:gd name="connsiteY30" fmla="*/ 1207698 h 3332671"/>
              <a:gd name="connsiteX31" fmla="*/ 569343 w 4175186"/>
              <a:gd name="connsiteY31" fmla="*/ 1164566 h 3332671"/>
              <a:gd name="connsiteX32" fmla="*/ 569343 w 4175186"/>
              <a:gd name="connsiteY32" fmla="*/ 1026543 h 3332671"/>
              <a:gd name="connsiteX33" fmla="*/ 543464 w 4175186"/>
              <a:gd name="connsiteY33" fmla="*/ 914400 h 3332671"/>
              <a:gd name="connsiteX34" fmla="*/ 439947 w 4175186"/>
              <a:gd name="connsiteY34" fmla="*/ 862642 h 3332671"/>
              <a:gd name="connsiteX35" fmla="*/ 388189 w 4175186"/>
              <a:gd name="connsiteY35" fmla="*/ 543464 h 3332671"/>
              <a:gd name="connsiteX36" fmla="*/ 336430 w 4175186"/>
              <a:gd name="connsiteY36" fmla="*/ 336430 h 3332671"/>
              <a:gd name="connsiteX37" fmla="*/ 336430 w 4175186"/>
              <a:gd name="connsiteY37" fmla="*/ 207034 h 3332671"/>
              <a:gd name="connsiteX38" fmla="*/ 327804 w 4175186"/>
              <a:gd name="connsiteY38" fmla="*/ 120770 h 3332671"/>
              <a:gd name="connsiteX39" fmla="*/ 207034 w 4175186"/>
              <a:gd name="connsiteY39" fmla="*/ 69011 h 3332671"/>
              <a:gd name="connsiteX40" fmla="*/ 112143 w 4175186"/>
              <a:gd name="connsiteY40" fmla="*/ 17253 h 3332671"/>
              <a:gd name="connsiteX41" fmla="*/ 0 w 4175186"/>
              <a:gd name="connsiteY41" fmla="*/ 0 h 3332671"/>
              <a:gd name="connsiteX0" fmla="*/ 4063043 w 4063043"/>
              <a:gd name="connsiteY0" fmla="*/ 2769079 h 3315418"/>
              <a:gd name="connsiteX1" fmla="*/ 3864634 w 4063043"/>
              <a:gd name="connsiteY1" fmla="*/ 2872596 h 3315418"/>
              <a:gd name="connsiteX2" fmla="*/ 3709359 w 4063043"/>
              <a:gd name="connsiteY2" fmla="*/ 2898475 h 3315418"/>
              <a:gd name="connsiteX3" fmla="*/ 3562710 w 4063043"/>
              <a:gd name="connsiteY3" fmla="*/ 2863970 h 3315418"/>
              <a:gd name="connsiteX4" fmla="*/ 3433314 w 4063043"/>
              <a:gd name="connsiteY4" fmla="*/ 2838090 h 3315418"/>
              <a:gd name="connsiteX5" fmla="*/ 3226280 w 4063043"/>
              <a:gd name="connsiteY5" fmla="*/ 2846717 h 3315418"/>
              <a:gd name="connsiteX6" fmla="*/ 3183148 w 4063043"/>
              <a:gd name="connsiteY6" fmla="*/ 2984740 h 3315418"/>
              <a:gd name="connsiteX7" fmla="*/ 3088257 w 4063043"/>
              <a:gd name="connsiteY7" fmla="*/ 2924355 h 3315418"/>
              <a:gd name="connsiteX8" fmla="*/ 3036499 w 4063043"/>
              <a:gd name="connsiteY8" fmla="*/ 2872596 h 3315418"/>
              <a:gd name="connsiteX9" fmla="*/ 2898476 w 4063043"/>
              <a:gd name="connsiteY9" fmla="*/ 2915728 h 3315418"/>
              <a:gd name="connsiteX10" fmla="*/ 2743200 w 4063043"/>
              <a:gd name="connsiteY10" fmla="*/ 2967487 h 3315418"/>
              <a:gd name="connsiteX11" fmla="*/ 2613804 w 4063043"/>
              <a:gd name="connsiteY11" fmla="*/ 3045124 h 3315418"/>
              <a:gd name="connsiteX12" fmla="*/ 2553419 w 4063043"/>
              <a:gd name="connsiteY12" fmla="*/ 3131389 h 3315418"/>
              <a:gd name="connsiteX13" fmla="*/ 2458529 w 4063043"/>
              <a:gd name="connsiteY13" fmla="*/ 3148641 h 3315418"/>
              <a:gd name="connsiteX14" fmla="*/ 2303253 w 4063043"/>
              <a:gd name="connsiteY14" fmla="*/ 3312543 h 3315418"/>
              <a:gd name="connsiteX15" fmla="*/ 2104846 w 4063043"/>
              <a:gd name="connsiteY15" fmla="*/ 3165894 h 3315418"/>
              <a:gd name="connsiteX16" fmla="*/ 2113472 w 4063043"/>
              <a:gd name="connsiteY16" fmla="*/ 3036498 h 3315418"/>
              <a:gd name="connsiteX17" fmla="*/ 2070340 w 4063043"/>
              <a:gd name="connsiteY17" fmla="*/ 2855343 h 3315418"/>
              <a:gd name="connsiteX18" fmla="*/ 1949570 w 4063043"/>
              <a:gd name="connsiteY18" fmla="*/ 2656936 h 3315418"/>
              <a:gd name="connsiteX19" fmla="*/ 1889185 w 4063043"/>
              <a:gd name="connsiteY19" fmla="*/ 2493034 h 3315418"/>
              <a:gd name="connsiteX20" fmla="*/ 1699404 w 4063043"/>
              <a:gd name="connsiteY20" fmla="*/ 2216989 h 3315418"/>
              <a:gd name="connsiteX21" fmla="*/ 1570008 w 4063043"/>
              <a:gd name="connsiteY21" fmla="*/ 2225615 h 3315418"/>
              <a:gd name="connsiteX22" fmla="*/ 1406106 w 4063043"/>
              <a:gd name="connsiteY22" fmla="*/ 2130724 h 3315418"/>
              <a:gd name="connsiteX23" fmla="*/ 1337095 w 4063043"/>
              <a:gd name="connsiteY23" fmla="*/ 2130724 h 3315418"/>
              <a:gd name="connsiteX24" fmla="*/ 1224951 w 4063043"/>
              <a:gd name="connsiteY24" fmla="*/ 2009955 h 3315418"/>
              <a:gd name="connsiteX25" fmla="*/ 1242204 w 4063043"/>
              <a:gd name="connsiteY25" fmla="*/ 1733909 h 3315418"/>
              <a:gd name="connsiteX26" fmla="*/ 1155940 w 4063043"/>
              <a:gd name="connsiteY26" fmla="*/ 1578634 h 3315418"/>
              <a:gd name="connsiteX27" fmla="*/ 948906 w 4063043"/>
              <a:gd name="connsiteY27" fmla="*/ 1587260 h 3315418"/>
              <a:gd name="connsiteX28" fmla="*/ 793631 w 4063043"/>
              <a:gd name="connsiteY28" fmla="*/ 1423358 h 3315418"/>
              <a:gd name="connsiteX29" fmla="*/ 646982 w 4063043"/>
              <a:gd name="connsiteY29" fmla="*/ 1414732 h 3315418"/>
              <a:gd name="connsiteX30" fmla="*/ 577970 w 4063043"/>
              <a:gd name="connsiteY30" fmla="*/ 1190445 h 3315418"/>
              <a:gd name="connsiteX31" fmla="*/ 457200 w 4063043"/>
              <a:gd name="connsiteY31" fmla="*/ 1147313 h 3315418"/>
              <a:gd name="connsiteX32" fmla="*/ 457200 w 4063043"/>
              <a:gd name="connsiteY32" fmla="*/ 1009290 h 3315418"/>
              <a:gd name="connsiteX33" fmla="*/ 431321 w 4063043"/>
              <a:gd name="connsiteY33" fmla="*/ 897147 h 3315418"/>
              <a:gd name="connsiteX34" fmla="*/ 327804 w 4063043"/>
              <a:gd name="connsiteY34" fmla="*/ 845389 h 3315418"/>
              <a:gd name="connsiteX35" fmla="*/ 276046 w 4063043"/>
              <a:gd name="connsiteY35" fmla="*/ 526211 h 3315418"/>
              <a:gd name="connsiteX36" fmla="*/ 224287 w 4063043"/>
              <a:gd name="connsiteY36" fmla="*/ 319177 h 3315418"/>
              <a:gd name="connsiteX37" fmla="*/ 224287 w 4063043"/>
              <a:gd name="connsiteY37" fmla="*/ 189781 h 3315418"/>
              <a:gd name="connsiteX38" fmla="*/ 215661 w 4063043"/>
              <a:gd name="connsiteY38" fmla="*/ 103517 h 3315418"/>
              <a:gd name="connsiteX39" fmla="*/ 94891 w 4063043"/>
              <a:gd name="connsiteY39" fmla="*/ 51758 h 3315418"/>
              <a:gd name="connsiteX40" fmla="*/ 0 w 4063043"/>
              <a:gd name="connsiteY40" fmla="*/ 0 h 3315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063043" h="3315418">
                <a:moveTo>
                  <a:pt x="4063043" y="2769079"/>
                </a:moveTo>
                <a:cubicBezTo>
                  <a:pt x="4008409" y="2782019"/>
                  <a:pt x="3923581" y="2851030"/>
                  <a:pt x="3864634" y="2872596"/>
                </a:cubicBezTo>
                <a:cubicBezTo>
                  <a:pt x="3805687" y="2894162"/>
                  <a:pt x="3759680" y="2899913"/>
                  <a:pt x="3709359" y="2898475"/>
                </a:cubicBezTo>
                <a:cubicBezTo>
                  <a:pt x="3659038" y="2897037"/>
                  <a:pt x="3608718" y="2874034"/>
                  <a:pt x="3562710" y="2863970"/>
                </a:cubicBezTo>
                <a:cubicBezTo>
                  <a:pt x="3516703" y="2853906"/>
                  <a:pt x="3489386" y="2840966"/>
                  <a:pt x="3433314" y="2838090"/>
                </a:cubicBezTo>
                <a:cubicBezTo>
                  <a:pt x="3377242" y="2835214"/>
                  <a:pt x="3267974" y="2822275"/>
                  <a:pt x="3226280" y="2846717"/>
                </a:cubicBezTo>
                <a:cubicBezTo>
                  <a:pt x="3184586" y="2871159"/>
                  <a:pt x="3206152" y="2971800"/>
                  <a:pt x="3183148" y="2984740"/>
                </a:cubicBezTo>
                <a:cubicBezTo>
                  <a:pt x="3160144" y="2997680"/>
                  <a:pt x="3112699" y="2943046"/>
                  <a:pt x="3088257" y="2924355"/>
                </a:cubicBezTo>
                <a:cubicBezTo>
                  <a:pt x="3063816" y="2905664"/>
                  <a:pt x="3068129" y="2874034"/>
                  <a:pt x="3036499" y="2872596"/>
                </a:cubicBezTo>
                <a:cubicBezTo>
                  <a:pt x="3004869" y="2871158"/>
                  <a:pt x="2898476" y="2915728"/>
                  <a:pt x="2898476" y="2915728"/>
                </a:cubicBezTo>
                <a:cubicBezTo>
                  <a:pt x="2849593" y="2931543"/>
                  <a:pt x="2790645" y="2945921"/>
                  <a:pt x="2743200" y="2967487"/>
                </a:cubicBezTo>
                <a:cubicBezTo>
                  <a:pt x="2695755" y="2989053"/>
                  <a:pt x="2645434" y="3017807"/>
                  <a:pt x="2613804" y="3045124"/>
                </a:cubicBezTo>
                <a:cubicBezTo>
                  <a:pt x="2582174" y="3072441"/>
                  <a:pt x="2579298" y="3114136"/>
                  <a:pt x="2553419" y="3131389"/>
                </a:cubicBezTo>
                <a:cubicBezTo>
                  <a:pt x="2527540" y="3148642"/>
                  <a:pt x="2500223" y="3118449"/>
                  <a:pt x="2458529" y="3148641"/>
                </a:cubicBezTo>
                <a:cubicBezTo>
                  <a:pt x="2416835" y="3178833"/>
                  <a:pt x="2362200" y="3309668"/>
                  <a:pt x="2303253" y="3312543"/>
                </a:cubicBezTo>
                <a:cubicBezTo>
                  <a:pt x="2244306" y="3315418"/>
                  <a:pt x="2136476" y="3211901"/>
                  <a:pt x="2104846" y="3165894"/>
                </a:cubicBezTo>
                <a:cubicBezTo>
                  <a:pt x="2073216" y="3119887"/>
                  <a:pt x="2119223" y="3088256"/>
                  <a:pt x="2113472" y="3036498"/>
                </a:cubicBezTo>
                <a:cubicBezTo>
                  <a:pt x="2107721" y="2984740"/>
                  <a:pt x="2097657" y="2918603"/>
                  <a:pt x="2070340" y="2855343"/>
                </a:cubicBezTo>
                <a:cubicBezTo>
                  <a:pt x="2043023" y="2792083"/>
                  <a:pt x="1979762" y="2717321"/>
                  <a:pt x="1949570" y="2656936"/>
                </a:cubicBezTo>
                <a:cubicBezTo>
                  <a:pt x="1919378" y="2596551"/>
                  <a:pt x="1930879" y="2566358"/>
                  <a:pt x="1889185" y="2493034"/>
                </a:cubicBezTo>
                <a:cubicBezTo>
                  <a:pt x="1847491" y="2419710"/>
                  <a:pt x="1752600" y="2261559"/>
                  <a:pt x="1699404" y="2216989"/>
                </a:cubicBezTo>
                <a:cubicBezTo>
                  <a:pt x="1646208" y="2172419"/>
                  <a:pt x="1618891" y="2239993"/>
                  <a:pt x="1570008" y="2225615"/>
                </a:cubicBezTo>
                <a:cubicBezTo>
                  <a:pt x="1521125" y="2211238"/>
                  <a:pt x="1444925" y="2146539"/>
                  <a:pt x="1406106" y="2130724"/>
                </a:cubicBezTo>
                <a:cubicBezTo>
                  <a:pt x="1367287" y="2114909"/>
                  <a:pt x="1367288" y="2150852"/>
                  <a:pt x="1337095" y="2130724"/>
                </a:cubicBezTo>
                <a:cubicBezTo>
                  <a:pt x="1306903" y="2110596"/>
                  <a:pt x="1240766" y="2076091"/>
                  <a:pt x="1224951" y="2009955"/>
                </a:cubicBezTo>
                <a:cubicBezTo>
                  <a:pt x="1209136" y="1943819"/>
                  <a:pt x="1253706" y="1805796"/>
                  <a:pt x="1242204" y="1733909"/>
                </a:cubicBezTo>
                <a:cubicBezTo>
                  <a:pt x="1230702" y="1662022"/>
                  <a:pt x="1204823" y="1603076"/>
                  <a:pt x="1155940" y="1578634"/>
                </a:cubicBezTo>
                <a:cubicBezTo>
                  <a:pt x="1107057" y="1554193"/>
                  <a:pt x="1009291" y="1613139"/>
                  <a:pt x="948906" y="1587260"/>
                </a:cubicBezTo>
                <a:cubicBezTo>
                  <a:pt x="888521" y="1561381"/>
                  <a:pt x="843952" y="1452113"/>
                  <a:pt x="793631" y="1423358"/>
                </a:cubicBezTo>
                <a:cubicBezTo>
                  <a:pt x="743310" y="1394603"/>
                  <a:pt x="682926" y="1453551"/>
                  <a:pt x="646982" y="1414732"/>
                </a:cubicBezTo>
                <a:cubicBezTo>
                  <a:pt x="611039" y="1375913"/>
                  <a:pt x="609600" y="1235015"/>
                  <a:pt x="577970" y="1190445"/>
                </a:cubicBezTo>
                <a:cubicBezTo>
                  <a:pt x="546340" y="1145875"/>
                  <a:pt x="477328" y="1177505"/>
                  <a:pt x="457200" y="1147313"/>
                </a:cubicBezTo>
                <a:cubicBezTo>
                  <a:pt x="437072" y="1117121"/>
                  <a:pt x="461513" y="1050984"/>
                  <a:pt x="457200" y="1009290"/>
                </a:cubicBezTo>
                <a:cubicBezTo>
                  <a:pt x="452887" y="967596"/>
                  <a:pt x="452887" y="924464"/>
                  <a:pt x="431321" y="897147"/>
                </a:cubicBezTo>
                <a:cubicBezTo>
                  <a:pt x="409755" y="869830"/>
                  <a:pt x="353683" y="907212"/>
                  <a:pt x="327804" y="845389"/>
                </a:cubicBezTo>
                <a:cubicBezTo>
                  <a:pt x="301925" y="783566"/>
                  <a:pt x="293299" y="613913"/>
                  <a:pt x="276046" y="526211"/>
                </a:cubicBezTo>
                <a:cubicBezTo>
                  <a:pt x="258793" y="438509"/>
                  <a:pt x="232914" y="375249"/>
                  <a:pt x="224287" y="319177"/>
                </a:cubicBezTo>
                <a:cubicBezTo>
                  <a:pt x="215661" y="263105"/>
                  <a:pt x="225725" y="225724"/>
                  <a:pt x="224287" y="189781"/>
                </a:cubicBezTo>
                <a:cubicBezTo>
                  <a:pt x="222849" y="153838"/>
                  <a:pt x="237227" y="126521"/>
                  <a:pt x="215661" y="103517"/>
                </a:cubicBezTo>
                <a:cubicBezTo>
                  <a:pt x="194095" y="80513"/>
                  <a:pt x="130834" y="69011"/>
                  <a:pt x="94891" y="51758"/>
                </a:cubicBezTo>
                <a:cubicBezTo>
                  <a:pt x="58948" y="34505"/>
                  <a:pt x="34506" y="11502"/>
                  <a:pt x="0" y="0"/>
                </a:cubicBezTo>
              </a:path>
            </a:pathLst>
          </a:custGeom>
          <a:ln w="152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Полилиния 191"/>
          <p:cNvSpPr/>
          <p:nvPr/>
        </p:nvSpPr>
        <p:spPr>
          <a:xfrm>
            <a:off x="6999638" y="4733784"/>
            <a:ext cx="846373" cy="392528"/>
          </a:xfrm>
          <a:custGeom>
            <a:avLst/>
            <a:gdLst>
              <a:gd name="connsiteX0" fmla="*/ 733245 w 733245"/>
              <a:gd name="connsiteY0" fmla="*/ 0 h 388189"/>
              <a:gd name="connsiteX1" fmla="*/ 629728 w 733245"/>
              <a:gd name="connsiteY1" fmla="*/ 34506 h 388189"/>
              <a:gd name="connsiteX2" fmla="*/ 560717 w 733245"/>
              <a:gd name="connsiteY2" fmla="*/ 112144 h 388189"/>
              <a:gd name="connsiteX3" fmla="*/ 543464 w 733245"/>
              <a:gd name="connsiteY3" fmla="*/ 189781 h 388189"/>
              <a:gd name="connsiteX4" fmla="*/ 543464 w 733245"/>
              <a:gd name="connsiteY4" fmla="*/ 284672 h 388189"/>
              <a:gd name="connsiteX5" fmla="*/ 457200 w 733245"/>
              <a:gd name="connsiteY5" fmla="*/ 284672 h 388189"/>
              <a:gd name="connsiteX6" fmla="*/ 396815 w 733245"/>
              <a:gd name="connsiteY6" fmla="*/ 284672 h 388189"/>
              <a:gd name="connsiteX7" fmla="*/ 267419 w 733245"/>
              <a:gd name="connsiteY7" fmla="*/ 345057 h 388189"/>
              <a:gd name="connsiteX8" fmla="*/ 172528 w 733245"/>
              <a:gd name="connsiteY8" fmla="*/ 319178 h 388189"/>
              <a:gd name="connsiteX9" fmla="*/ 0 w 733245"/>
              <a:gd name="connsiteY9" fmla="*/ 388189 h 388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3245" h="388189">
                <a:moveTo>
                  <a:pt x="733245" y="0"/>
                </a:moveTo>
                <a:cubicBezTo>
                  <a:pt x="695864" y="7907"/>
                  <a:pt x="658483" y="15815"/>
                  <a:pt x="629728" y="34506"/>
                </a:cubicBezTo>
                <a:cubicBezTo>
                  <a:pt x="600973" y="53197"/>
                  <a:pt x="575094" y="86265"/>
                  <a:pt x="560717" y="112144"/>
                </a:cubicBezTo>
                <a:cubicBezTo>
                  <a:pt x="546340" y="138023"/>
                  <a:pt x="546340" y="161026"/>
                  <a:pt x="543464" y="189781"/>
                </a:cubicBezTo>
                <a:cubicBezTo>
                  <a:pt x="540589" y="218536"/>
                  <a:pt x="557841" y="268857"/>
                  <a:pt x="543464" y="284672"/>
                </a:cubicBezTo>
                <a:cubicBezTo>
                  <a:pt x="529087" y="300487"/>
                  <a:pt x="457200" y="284672"/>
                  <a:pt x="457200" y="284672"/>
                </a:cubicBezTo>
                <a:cubicBezTo>
                  <a:pt x="432759" y="284672"/>
                  <a:pt x="428445" y="274608"/>
                  <a:pt x="396815" y="284672"/>
                </a:cubicBezTo>
                <a:cubicBezTo>
                  <a:pt x="365185" y="294736"/>
                  <a:pt x="304800" y="339306"/>
                  <a:pt x="267419" y="345057"/>
                </a:cubicBezTo>
                <a:cubicBezTo>
                  <a:pt x="230038" y="350808"/>
                  <a:pt x="217098" y="311989"/>
                  <a:pt x="172528" y="319178"/>
                </a:cubicBezTo>
                <a:cubicBezTo>
                  <a:pt x="127958" y="326367"/>
                  <a:pt x="63979" y="357278"/>
                  <a:pt x="0" y="388189"/>
                </a:cubicBezTo>
              </a:path>
            </a:pathLst>
          </a:custGeom>
          <a:ln w="152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Полилиния 196"/>
          <p:cNvSpPr/>
          <p:nvPr/>
        </p:nvSpPr>
        <p:spPr>
          <a:xfrm>
            <a:off x="7006070" y="4746322"/>
            <a:ext cx="841085" cy="394891"/>
          </a:xfrm>
          <a:custGeom>
            <a:avLst/>
            <a:gdLst>
              <a:gd name="connsiteX0" fmla="*/ 0 w 728663"/>
              <a:gd name="connsiteY0" fmla="*/ 390525 h 390525"/>
              <a:gd name="connsiteX1" fmla="*/ 100013 w 728663"/>
              <a:gd name="connsiteY1" fmla="*/ 338137 h 390525"/>
              <a:gd name="connsiteX2" fmla="*/ 166688 w 728663"/>
              <a:gd name="connsiteY2" fmla="*/ 314325 h 390525"/>
              <a:gd name="connsiteX3" fmla="*/ 242888 w 728663"/>
              <a:gd name="connsiteY3" fmla="*/ 333375 h 390525"/>
              <a:gd name="connsiteX4" fmla="*/ 328613 w 728663"/>
              <a:gd name="connsiteY4" fmla="*/ 309562 h 390525"/>
              <a:gd name="connsiteX5" fmla="*/ 390525 w 728663"/>
              <a:gd name="connsiteY5" fmla="*/ 271462 h 390525"/>
              <a:gd name="connsiteX6" fmla="*/ 452438 w 728663"/>
              <a:gd name="connsiteY6" fmla="*/ 285750 h 390525"/>
              <a:gd name="connsiteX7" fmla="*/ 533400 w 728663"/>
              <a:gd name="connsiteY7" fmla="*/ 280987 h 390525"/>
              <a:gd name="connsiteX8" fmla="*/ 542925 w 728663"/>
              <a:gd name="connsiteY8" fmla="*/ 180975 h 390525"/>
              <a:gd name="connsiteX9" fmla="*/ 547688 w 728663"/>
              <a:gd name="connsiteY9" fmla="*/ 133350 h 390525"/>
              <a:gd name="connsiteX10" fmla="*/ 581025 w 728663"/>
              <a:gd name="connsiteY10" fmla="*/ 80962 h 390525"/>
              <a:gd name="connsiteX11" fmla="*/ 657225 w 728663"/>
              <a:gd name="connsiteY11" fmla="*/ 19050 h 390525"/>
              <a:gd name="connsiteX12" fmla="*/ 728663 w 728663"/>
              <a:gd name="connsiteY12" fmla="*/ 0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28663" h="390525">
                <a:moveTo>
                  <a:pt x="0" y="390525"/>
                </a:moveTo>
                <a:cubicBezTo>
                  <a:pt x="36116" y="370681"/>
                  <a:pt x="72232" y="350837"/>
                  <a:pt x="100013" y="338137"/>
                </a:cubicBezTo>
                <a:cubicBezTo>
                  <a:pt x="127794" y="325437"/>
                  <a:pt x="142876" y="315119"/>
                  <a:pt x="166688" y="314325"/>
                </a:cubicBezTo>
                <a:cubicBezTo>
                  <a:pt x="190500" y="313531"/>
                  <a:pt x="215901" y="334169"/>
                  <a:pt x="242888" y="333375"/>
                </a:cubicBezTo>
                <a:cubicBezTo>
                  <a:pt x="269875" y="332581"/>
                  <a:pt x="304007" y="319881"/>
                  <a:pt x="328613" y="309562"/>
                </a:cubicBezTo>
                <a:cubicBezTo>
                  <a:pt x="353219" y="299243"/>
                  <a:pt x="369888" y="275431"/>
                  <a:pt x="390525" y="271462"/>
                </a:cubicBezTo>
                <a:cubicBezTo>
                  <a:pt x="411162" y="267493"/>
                  <a:pt x="428625" y="284162"/>
                  <a:pt x="452438" y="285750"/>
                </a:cubicBezTo>
                <a:cubicBezTo>
                  <a:pt x="476251" y="287338"/>
                  <a:pt x="518319" y="298449"/>
                  <a:pt x="533400" y="280987"/>
                </a:cubicBezTo>
                <a:cubicBezTo>
                  <a:pt x="548481" y="263525"/>
                  <a:pt x="540544" y="205581"/>
                  <a:pt x="542925" y="180975"/>
                </a:cubicBezTo>
                <a:cubicBezTo>
                  <a:pt x="545306" y="156369"/>
                  <a:pt x="541338" y="150019"/>
                  <a:pt x="547688" y="133350"/>
                </a:cubicBezTo>
                <a:cubicBezTo>
                  <a:pt x="554038" y="116681"/>
                  <a:pt x="562769" y="100012"/>
                  <a:pt x="581025" y="80962"/>
                </a:cubicBezTo>
                <a:cubicBezTo>
                  <a:pt x="599281" y="61912"/>
                  <a:pt x="632619" y="32544"/>
                  <a:pt x="657225" y="19050"/>
                </a:cubicBezTo>
                <a:cubicBezTo>
                  <a:pt x="681831" y="5556"/>
                  <a:pt x="705247" y="2778"/>
                  <a:pt x="728663" y="0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199" name="Полилиния 198"/>
          <p:cNvSpPr/>
          <p:nvPr/>
        </p:nvSpPr>
        <p:spPr>
          <a:xfrm>
            <a:off x="7028058" y="4776036"/>
            <a:ext cx="830090" cy="394891"/>
          </a:xfrm>
          <a:custGeom>
            <a:avLst/>
            <a:gdLst>
              <a:gd name="connsiteX0" fmla="*/ 0 w 719138"/>
              <a:gd name="connsiteY0" fmla="*/ 390525 h 390525"/>
              <a:gd name="connsiteX1" fmla="*/ 66675 w 719138"/>
              <a:gd name="connsiteY1" fmla="*/ 357187 h 390525"/>
              <a:gd name="connsiteX2" fmla="*/ 138113 w 719138"/>
              <a:gd name="connsiteY2" fmla="*/ 319087 h 390525"/>
              <a:gd name="connsiteX3" fmla="*/ 204788 w 719138"/>
              <a:gd name="connsiteY3" fmla="*/ 333375 h 390525"/>
              <a:gd name="connsiteX4" fmla="*/ 266700 w 719138"/>
              <a:gd name="connsiteY4" fmla="*/ 338137 h 390525"/>
              <a:gd name="connsiteX5" fmla="*/ 323850 w 719138"/>
              <a:gd name="connsiteY5" fmla="*/ 309562 h 390525"/>
              <a:gd name="connsiteX6" fmla="*/ 371475 w 719138"/>
              <a:gd name="connsiteY6" fmla="*/ 285750 h 390525"/>
              <a:gd name="connsiteX7" fmla="*/ 428625 w 719138"/>
              <a:gd name="connsiteY7" fmla="*/ 290512 h 390525"/>
              <a:gd name="connsiteX8" fmla="*/ 504825 w 719138"/>
              <a:gd name="connsiteY8" fmla="*/ 295275 h 390525"/>
              <a:gd name="connsiteX9" fmla="*/ 552450 w 719138"/>
              <a:gd name="connsiteY9" fmla="*/ 257175 h 390525"/>
              <a:gd name="connsiteX10" fmla="*/ 566738 w 719138"/>
              <a:gd name="connsiteY10" fmla="*/ 190500 h 390525"/>
              <a:gd name="connsiteX11" fmla="*/ 561975 w 719138"/>
              <a:gd name="connsiteY11" fmla="*/ 119062 h 390525"/>
              <a:gd name="connsiteX12" fmla="*/ 595313 w 719138"/>
              <a:gd name="connsiteY12" fmla="*/ 66675 h 390525"/>
              <a:gd name="connsiteX13" fmla="*/ 638175 w 719138"/>
              <a:gd name="connsiteY13" fmla="*/ 33337 h 390525"/>
              <a:gd name="connsiteX14" fmla="*/ 666750 w 719138"/>
              <a:gd name="connsiteY14" fmla="*/ 14287 h 390525"/>
              <a:gd name="connsiteX15" fmla="*/ 719138 w 719138"/>
              <a:gd name="connsiteY15" fmla="*/ 0 h 390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9138" h="390525">
                <a:moveTo>
                  <a:pt x="0" y="390525"/>
                </a:moveTo>
                <a:lnTo>
                  <a:pt x="66675" y="357187"/>
                </a:lnTo>
                <a:cubicBezTo>
                  <a:pt x="89694" y="345281"/>
                  <a:pt x="115094" y="323056"/>
                  <a:pt x="138113" y="319087"/>
                </a:cubicBezTo>
                <a:cubicBezTo>
                  <a:pt x="161132" y="315118"/>
                  <a:pt x="183357" y="330200"/>
                  <a:pt x="204788" y="333375"/>
                </a:cubicBezTo>
                <a:cubicBezTo>
                  <a:pt x="226219" y="336550"/>
                  <a:pt x="246856" y="342106"/>
                  <a:pt x="266700" y="338137"/>
                </a:cubicBezTo>
                <a:cubicBezTo>
                  <a:pt x="286544" y="334168"/>
                  <a:pt x="323850" y="309562"/>
                  <a:pt x="323850" y="309562"/>
                </a:cubicBezTo>
                <a:cubicBezTo>
                  <a:pt x="341312" y="300831"/>
                  <a:pt x="354013" y="288925"/>
                  <a:pt x="371475" y="285750"/>
                </a:cubicBezTo>
                <a:cubicBezTo>
                  <a:pt x="388938" y="282575"/>
                  <a:pt x="428625" y="290512"/>
                  <a:pt x="428625" y="290512"/>
                </a:cubicBezTo>
                <a:cubicBezTo>
                  <a:pt x="450850" y="292099"/>
                  <a:pt x="484188" y="300831"/>
                  <a:pt x="504825" y="295275"/>
                </a:cubicBezTo>
                <a:cubicBezTo>
                  <a:pt x="525462" y="289719"/>
                  <a:pt x="542131" y="274638"/>
                  <a:pt x="552450" y="257175"/>
                </a:cubicBezTo>
                <a:cubicBezTo>
                  <a:pt x="562769" y="239712"/>
                  <a:pt x="565151" y="213519"/>
                  <a:pt x="566738" y="190500"/>
                </a:cubicBezTo>
                <a:cubicBezTo>
                  <a:pt x="568325" y="167481"/>
                  <a:pt x="557213" y="139699"/>
                  <a:pt x="561975" y="119062"/>
                </a:cubicBezTo>
                <a:cubicBezTo>
                  <a:pt x="566737" y="98425"/>
                  <a:pt x="582613" y="80963"/>
                  <a:pt x="595313" y="66675"/>
                </a:cubicBezTo>
                <a:cubicBezTo>
                  <a:pt x="608013" y="52388"/>
                  <a:pt x="626269" y="42068"/>
                  <a:pt x="638175" y="33337"/>
                </a:cubicBezTo>
                <a:cubicBezTo>
                  <a:pt x="650081" y="24606"/>
                  <a:pt x="653256" y="19843"/>
                  <a:pt x="666750" y="14287"/>
                </a:cubicBezTo>
                <a:cubicBezTo>
                  <a:pt x="680244" y="8731"/>
                  <a:pt x="699691" y="4365"/>
                  <a:pt x="719138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1" name="Полилиния 220"/>
          <p:cNvSpPr/>
          <p:nvPr/>
        </p:nvSpPr>
        <p:spPr>
          <a:xfrm>
            <a:off x="2696201" y="2643409"/>
            <a:ext cx="1363326" cy="1820350"/>
          </a:xfrm>
          <a:custGeom>
            <a:avLst/>
            <a:gdLst>
              <a:gd name="connsiteX0" fmla="*/ 0 w 1819275"/>
              <a:gd name="connsiteY0" fmla="*/ 0 h 2171700"/>
              <a:gd name="connsiteX1" fmla="*/ 104775 w 1819275"/>
              <a:gd name="connsiteY1" fmla="*/ 185737 h 2171700"/>
              <a:gd name="connsiteX2" fmla="*/ 238125 w 1819275"/>
              <a:gd name="connsiteY2" fmla="*/ 247650 h 2171700"/>
              <a:gd name="connsiteX3" fmla="*/ 361950 w 1819275"/>
              <a:gd name="connsiteY3" fmla="*/ 285750 h 2171700"/>
              <a:gd name="connsiteX4" fmla="*/ 500063 w 1819275"/>
              <a:gd name="connsiteY4" fmla="*/ 309562 h 2171700"/>
              <a:gd name="connsiteX5" fmla="*/ 638175 w 1819275"/>
              <a:gd name="connsiteY5" fmla="*/ 371475 h 2171700"/>
              <a:gd name="connsiteX6" fmla="*/ 738188 w 1819275"/>
              <a:gd name="connsiteY6" fmla="*/ 404812 h 2171700"/>
              <a:gd name="connsiteX7" fmla="*/ 738188 w 1819275"/>
              <a:gd name="connsiteY7" fmla="*/ 514350 h 2171700"/>
              <a:gd name="connsiteX8" fmla="*/ 776288 w 1819275"/>
              <a:gd name="connsiteY8" fmla="*/ 714375 h 2171700"/>
              <a:gd name="connsiteX9" fmla="*/ 823913 w 1819275"/>
              <a:gd name="connsiteY9" fmla="*/ 966787 h 2171700"/>
              <a:gd name="connsiteX10" fmla="*/ 852488 w 1819275"/>
              <a:gd name="connsiteY10" fmla="*/ 1090612 h 2171700"/>
              <a:gd name="connsiteX11" fmla="*/ 933450 w 1819275"/>
              <a:gd name="connsiteY11" fmla="*/ 1104900 h 2171700"/>
              <a:gd name="connsiteX12" fmla="*/ 971550 w 1819275"/>
              <a:gd name="connsiteY12" fmla="*/ 1195387 h 2171700"/>
              <a:gd name="connsiteX13" fmla="*/ 971550 w 1819275"/>
              <a:gd name="connsiteY13" fmla="*/ 1333500 h 2171700"/>
              <a:gd name="connsiteX14" fmla="*/ 1085850 w 1819275"/>
              <a:gd name="connsiteY14" fmla="*/ 1347787 h 2171700"/>
              <a:gd name="connsiteX15" fmla="*/ 1143000 w 1819275"/>
              <a:gd name="connsiteY15" fmla="*/ 1538287 h 2171700"/>
              <a:gd name="connsiteX16" fmla="*/ 1243013 w 1819275"/>
              <a:gd name="connsiteY16" fmla="*/ 1562100 h 2171700"/>
              <a:gd name="connsiteX17" fmla="*/ 1304925 w 1819275"/>
              <a:gd name="connsiteY17" fmla="*/ 1562100 h 2171700"/>
              <a:gd name="connsiteX18" fmla="*/ 1385888 w 1819275"/>
              <a:gd name="connsiteY18" fmla="*/ 1666875 h 2171700"/>
              <a:gd name="connsiteX19" fmla="*/ 1462088 w 1819275"/>
              <a:gd name="connsiteY19" fmla="*/ 1719262 h 2171700"/>
              <a:gd name="connsiteX20" fmla="*/ 1585913 w 1819275"/>
              <a:gd name="connsiteY20" fmla="*/ 1704975 h 2171700"/>
              <a:gd name="connsiteX21" fmla="*/ 1671638 w 1819275"/>
              <a:gd name="connsiteY21" fmla="*/ 1728787 h 2171700"/>
              <a:gd name="connsiteX22" fmla="*/ 1728788 w 1819275"/>
              <a:gd name="connsiteY22" fmla="*/ 1804987 h 2171700"/>
              <a:gd name="connsiteX23" fmla="*/ 1733550 w 1819275"/>
              <a:gd name="connsiteY23" fmla="*/ 1962150 h 2171700"/>
              <a:gd name="connsiteX24" fmla="*/ 1724025 w 1819275"/>
              <a:gd name="connsiteY24" fmla="*/ 2095500 h 2171700"/>
              <a:gd name="connsiteX25" fmla="*/ 1819275 w 1819275"/>
              <a:gd name="connsiteY25" fmla="*/ 2171700 h 2171700"/>
              <a:gd name="connsiteX0" fmla="*/ 0 w 1714500"/>
              <a:gd name="connsiteY0" fmla="*/ 0 h 1985963"/>
              <a:gd name="connsiteX1" fmla="*/ 133350 w 1714500"/>
              <a:gd name="connsiteY1" fmla="*/ 61913 h 1985963"/>
              <a:gd name="connsiteX2" fmla="*/ 257175 w 1714500"/>
              <a:gd name="connsiteY2" fmla="*/ 100013 h 1985963"/>
              <a:gd name="connsiteX3" fmla="*/ 395288 w 1714500"/>
              <a:gd name="connsiteY3" fmla="*/ 123825 h 1985963"/>
              <a:gd name="connsiteX4" fmla="*/ 533400 w 1714500"/>
              <a:gd name="connsiteY4" fmla="*/ 185738 h 1985963"/>
              <a:gd name="connsiteX5" fmla="*/ 633413 w 1714500"/>
              <a:gd name="connsiteY5" fmla="*/ 219075 h 1985963"/>
              <a:gd name="connsiteX6" fmla="*/ 633413 w 1714500"/>
              <a:gd name="connsiteY6" fmla="*/ 328613 h 1985963"/>
              <a:gd name="connsiteX7" fmla="*/ 671513 w 1714500"/>
              <a:gd name="connsiteY7" fmla="*/ 528638 h 1985963"/>
              <a:gd name="connsiteX8" fmla="*/ 719138 w 1714500"/>
              <a:gd name="connsiteY8" fmla="*/ 781050 h 1985963"/>
              <a:gd name="connsiteX9" fmla="*/ 747713 w 1714500"/>
              <a:gd name="connsiteY9" fmla="*/ 904875 h 1985963"/>
              <a:gd name="connsiteX10" fmla="*/ 828675 w 1714500"/>
              <a:gd name="connsiteY10" fmla="*/ 919163 h 1985963"/>
              <a:gd name="connsiteX11" fmla="*/ 866775 w 1714500"/>
              <a:gd name="connsiteY11" fmla="*/ 1009650 h 1985963"/>
              <a:gd name="connsiteX12" fmla="*/ 866775 w 1714500"/>
              <a:gd name="connsiteY12" fmla="*/ 1147763 h 1985963"/>
              <a:gd name="connsiteX13" fmla="*/ 981075 w 1714500"/>
              <a:gd name="connsiteY13" fmla="*/ 1162050 h 1985963"/>
              <a:gd name="connsiteX14" fmla="*/ 1038225 w 1714500"/>
              <a:gd name="connsiteY14" fmla="*/ 1352550 h 1985963"/>
              <a:gd name="connsiteX15" fmla="*/ 1138238 w 1714500"/>
              <a:gd name="connsiteY15" fmla="*/ 1376363 h 1985963"/>
              <a:gd name="connsiteX16" fmla="*/ 1200150 w 1714500"/>
              <a:gd name="connsiteY16" fmla="*/ 1376363 h 1985963"/>
              <a:gd name="connsiteX17" fmla="*/ 1281113 w 1714500"/>
              <a:gd name="connsiteY17" fmla="*/ 1481138 h 1985963"/>
              <a:gd name="connsiteX18" fmla="*/ 1357313 w 1714500"/>
              <a:gd name="connsiteY18" fmla="*/ 1533525 h 1985963"/>
              <a:gd name="connsiteX19" fmla="*/ 1481138 w 1714500"/>
              <a:gd name="connsiteY19" fmla="*/ 1519238 h 1985963"/>
              <a:gd name="connsiteX20" fmla="*/ 1566863 w 1714500"/>
              <a:gd name="connsiteY20" fmla="*/ 1543050 h 1985963"/>
              <a:gd name="connsiteX21" fmla="*/ 1624013 w 1714500"/>
              <a:gd name="connsiteY21" fmla="*/ 1619250 h 1985963"/>
              <a:gd name="connsiteX22" fmla="*/ 1628775 w 1714500"/>
              <a:gd name="connsiteY22" fmla="*/ 1776413 h 1985963"/>
              <a:gd name="connsiteX23" fmla="*/ 1619250 w 1714500"/>
              <a:gd name="connsiteY23" fmla="*/ 1909763 h 1985963"/>
              <a:gd name="connsiteX24" fmla="*/ 1714500 w 1714500"/>
              <a:gd name="connsiteY24" fmla="*/ 1985963 h 1985963"/>
              <a:gd name="connsiteX0" fmla="*/ 0 w 1581150"/>
              <a:gd name="connsiteY0" fmla="*/ 0 h 1924050"/>
              <a:gd name="connsiteX1" fmla="*/ 123825 w 1581150"/>
              <a:gd name="connsiteY1" fmla="*/ 38100 h 1924050"/>
              <a:gd name="connsiteX2" fmla="*/ 261938 w 1581150"/>
              <a:gd name="connsiteY2" fmla="*/ 61912 h 1924050"/>
              <a:gd name="connsiteX3" fmla="*/ 400050 w 1581150"/>
              <a:gd name="connsiteY3" fmla="*/ 123825 h 1924050"/>
              <a:gd name="connsiteX4" fmla="*/ 500063 w 1581150"/>
              <a:gd name="connsiteY4" fmla="*/ 157162 h 1924050"/>
              <a:gd name="connsiteX5" fmla="*/ 500063 w 1581150"/>
              <a:gd name="connsiteY5" fmla="*/ 266700 h 1924050"/>
              <a:gd name="connsiteX6" fmla="*/ 538163 w 1581150"/>
              <a:gd name="connsiteY6" fmla="*/ 466725 h 1924050"/>
              <a:gd name="connsiteX7" fmla="*/ 585788 w 1581150"/>
              <a:gd name="connsiteY7" fmla="*/ 719137 h 1924050"/>
              <a:gd name="connsiteX8" fmla="*/ 614363 w 1581150"/>
              <a:gd name="connsiteY8" fmla="*/ 842962 h 1924050"/>
              <a:gd name="connsiteX9" fmla="*/ 695325 w 1581150"/>
              <a:gd name="connsiteY9" fmla="*/ 857250 h 1924050"/>
              <a:gd name="connsiteX10" fmla="*/ 733425 w 1581150"/>
              <a:gd name="connsiteY10" fmla="*/ 947737 h 1924050"/>
              <a:gd name="connsiteX11" fmla="*/ 733425 w 1581150"/>
              <a:gd name="connsiteY11" fmla="*/ 1085850 h 1924050"/>
              <a:gd name="connsiteX12" fmla="*/ 847725 w 1581150"/>
              <a:gd name="connsiteY12" fmla="*/ 1100137 h 1924050"/>
              <a:gd name="connsiteX13" fmla="*/ 904875 w 1581150"/>
              <a:gd name="connsiteY13" fmla="*/ 1290637 h 1924050"/>
              <a:gd name="connsiteX14" fmla="*/ 1004888 w 1581150"/>
              <a:gd name="connsiteY14" fmla="*/ 1314450 h 1924050"/>
              <a:gd name="connsiteX15" fmla="*/ 1066800 w 1581150"/>
              <a:gd name="connsiteY15" fmla="*/ 1314450 h 1924050"/>
              <a:gd name="connsiteX16" fmla="*/ 1147763 w 1581150"/>
              <a:gd name="connsiteY16" fmla="*/ 1419225 h 1924050"/>
              <a:gd name="connsiteX17" fmla="*/ 1223963 w 1581150"/>
              <a:gd name="connsiteY17" fmla="*/ 1471612 h 1924050"/>
              <a:gd name="connsiteX18" fmla="*/ 1347788 w 1581150"/>
              <a:gd name="connsiteY18" fmla="*/ 1457325 h 1924050"/>
              <a:gd name="connsiteX19" fmla="*/ 1433513 w 1581150"/>
              <a:gd name="connsiteY19" fmla="*/ 1481137 h 1924050"/>
              <a:gd name="connsiteX20" fmla="*/ 1490663 w 1581150"/>
              <a:gd name="connsiteY20" fmla="*/ 1557337 h 1924050"/>
              <a:gd name="connsiteX21" fmla="*/ 1495425 w 1581150"/>
              <a:gd name="connsiteY21" fmla="*/ 1714500 h 1924050"/>
              <a:gd name="connsiteX22" fmla="*/ 1485900 w 1581150"/>
              <a:gd name="connsiteY22" fmla="*/ 1847850 h 1924050"/>
              <a:gd name="connsiteX23" fmla="*/ 1581150 w 1581150"/>
              <a:gd name="connsiteY23" fmla="*/ 1924050 h 1924050"/>
              <a:gd name="connsiteX0" fmla="*/ 0 w 1457325"/>
              <a:gd name="connsiteY0" fmla="*/ 0 h 1885950"/>
              <a:gd name="connsiteX1" fmla="*/ 138113 w 1457325"/>
              <a:gd name="connsiteY1" fmla="*/ 23812 h 1885950"/>
              <a:gd name="connsiteX2" fmla="*/ 276225 w 1457325"/>
              <a:gd name="connsiteY2" fmla="*/ 85725 h 1885950"/>
              <a:gd name="connsiteX3" fmla="*/ 376238 w 1457325"/>
              <a:gd name="connsiteY3" fmla="*/ 119062 h 1885950"/>
              <a:gd name="connsiteX4" fmla="*/ 376238 w 1457325"/>
              <a:gd name="connsiteY4" fmla="*/ 228600 h 1885950"/>
              <a:gd name="connsiteX5" fmla="*/ 414338 w 1457325"/>
              <a:gd name="connsiteY5" fmla="*/ 428625 h 1885950"/>
              <a:gd name="connsiteX6" fmla="*/ 461963 w 1457325"/>
              <a:gd name="connsiteY6" fmla="*/ 681037 h 1885950"/>
              <a:gd name="connsiteX7" fmla="*/ 490538 w 1457325"/>
              <a:gd name="connsiteY7" fmla="*/ 804862 h 1885950"/>
              <a:gd name="connsiteX8" fmla="*/ 571500 w 1457325"/>
              <a:gd name="connsiteY8" fmla="*/ 819150 h 1885950"/>
              <a:gd name="connsiteX9" fmla="*/ 609600 w 1457325"/>
              <a:gd name="connsiteY9" fmla="*/ 909637 h 1885950"/>
              <a:gd name="connsiteX10" fmla="*/ 609600 w 1457325"/>
              <a:gd name="connsiteY10" fmla="*/ 1047750 h 1885950"/>
              <a:gd name="connsiteX11" fmla="*/ 723900 w 1457325"/>
              <a:gd name="connsiteY11" fmla="*/ 1062037 h 1885950"/>
              <a:gd name="connsiteX12" fmla="*/ 781050 w 1457325"/>
              <a:gd name="connsiteY12" fmla="*/ 1252537 h 1885950"/>
              <a:gd name="connsiteX13" fmla="*/ 881063 w 1457325"/>
              <a:gd name="connsiteY13" fmla="*/ 1276350 h 1885950"/>
              <a:gd name="connsiteX14" fmla="*/ 942975 w 1457325"/>
              <a:gd name="connsiteY14" fmla="*/ 1276350 h 1885950"/>
              <a:gd name="connsiteX15" fmla="*/ 1023938 w 1457325"/>
              <a:gd name="connsiteY15" fmla="*/ 1381125 h 1885950"/>
              <a:gd name="connsiteX16" fmla="*/ 1100138 w 1457325"/>
              <a:gd name="connsiteY16" fmla="*/ 1433512 h 1885950"/>
              <a:gd name="connsiteX17" fmla="*/ 1223963 w 1457325"/>
              <a:gd name="connsiteY17" fmla="*/ 1419225 h 1885950"/>
              <a:gd name="connsiteX18" fmla="*/ 1309688 w 1457325"/>
              <a:gd name="connsiteY18" fmla="*/ 1443037 h 1885950"/>
              <a:gd name="connsiteX19" fmla="*/ 1366838 w 1457325"/>
              <a:gd name="connsiteY19" fmla="*/ 1519237 h 1885950"/>
              <a:gd name="connsiteX20" fmla="*/ 1371600 w 1457325"/>
              <a:gd name="connsiteY20" fmla="*/ 1676400 h 1885950"/>
              <a:gd name="connsiteX21" fmla="*/ 1362075 w 1457325"/>
              <a:gd name="connsiteY21" fmla="*/ 1809750 h 1885950"/>
              <a:gd name="connsiteX22" fmla="*/ 1457325 w 1457325"/>
              <a:gd name="connsiteY22" fmla="*/ 1885950 h 1885950"/>
              <a:gd name="connsiteX0" fmla="*/ 0 w 1319212"/>
              <a:gd name="connsiteY0" fmla="*/ 0 h 1862138"/>
              <a:gd name="connsiteX1" fmla="*/ 138112 w 1319212"/>
              <a:gd name="connsiteY1" fmla="*/ 61913 h 1862138"/>
              <a:gd name="connsiteX2" fmla="*/ 238125 w 1319212"/>
              <a:gd name="connsiteY2" fmla="*/ 95250 h 1862138"/>
              <a:gd name="connsiteX3" fmla="*/ 238125 w 1319212"/>
              <a:gd name="connsiteY3" fmla="*/ 204788 h 1862138"/>
              <a:gd name="connsiteX4" fmla="*/ 276225 w 1319212"/>
              <a:gd name="connsiteY4" fmla="*/ 404813 h 1862138"/>
              <a:gd name="connsiteX5" fmla="*/ 323850 w 1319212"/>
              <a:gd name="connsiteY5" fmla="*/ 657225 h 1862138"/>
              <a:gd name="connsiteX6" fmla="*/ 352425 w 1319212"/>
              <a:gd name="connsiteY6" fmla="*/ 781050 h 1862138"/>
              <a:gd name="connsiteX7" fmla="*/ 433387 w 1319212"/>
              <a:gd name="connsiteY7" fmla="*/ 795338 h 1862138"/>
              <a:gd name="connsiteX8" fmla="*/ 471487 w 1319212"/>
              <a:gd name="connsiteY8" fmla="*/ 885825 h 1862138"/>
              <a:gd name="connsiteX9" fmla="*/ 471487 w 1319212"/>
              <a:gd name="connsiteY9" fmla="*/ 1023938 h 1862138"/>
              <a:gd name="connsiteX10" fmla="*/ 585787 w 1319212"/>
              <a:gd name="connsiteY10" fmla="*/ 1038225 h 1862138"/>
              <a:gd name="connsiteX11" fmla="*/ 642937 w 1319212"/>
              <a:gd name="connsiteY11" fmla="*/ 1228725 h 1862138"/>
              <a:gd name="connsiteX12" fmla="*/ 742950 w 1319212"/>
              <a:gd name="connsiteY12" fmla="*/ 1252538 h 1862138"/>
              <a:gd name="connsiteX13" fmla="*/ 804862 w 1319212"/>
              <a:gd name="connsiteY13" fmla="*/ 1252538 h 1862138"/>
              <a:gd name="connsiteX14" fmla="*/ 885825 w 1319212"/>
              <a:gd name="connsiteY14" fmla="*/ 1357313 h 1862138"/>
              <a:gd name="connsiteX15" fmla="*/ 962025 w 1319212"/>
              <a:gd name="connsiteY15" fmla="*/ 1409700 h 1862138"/>
              <a:gd name="connsiteX16" fmla="*/ 1085850 w 1319212"/>
              <a:gd name="connsiteY16" fmla="*/ 1395413 h 1862138"/>
              <a:gd name="connsiteX17" fmla="*/ 1171575 w 1319212"/>
              <a:gd name="connsiteY17" fmla="*/ 1419225 h 1862138"/>
              <a:gd name="connsiteX18" fmla="*/ 1228725 w 1319212"/>
              <a:gd name="connsiteY18" fmla="*/ 1495425 h 1862138"/>
              <a:gd name="connsiteX19" fmla="*/ 1233487 w 1319212"/>
              <a:gd name="connsiteY19" fmla="*/ 1652588 h 1862138"/>
              <a:gd name="connsiteX20" fmla="*/ 1223962 w 1319212"/>
              <a:gd name="connsiteY20" fmla="*/ 1785938 h 1862138"/>
              <a:gd name="connsiteX21" fmla="*/ 1319212 w 1319212"/>
              <a:gd name="connsiteY21" fmla="*/ 1862138 h 1862138"/>
              <a:gd name="connsiteX0" fmla="*/ 0 w 1181100"/>
              <a:gd name="connsiteY0" fmla="*/ 0 h 1800225"/>
              <a:gd name="connsiteX1" fmla="*/ 100013 w 1181100"/>
              <a:gd name="connsiteY1" fmla="*/ 33337 h 1800225"/>
              <a:gd name="connsiteX2" fmla="*/ 100013 w 1181100"/>
              <a:gd name="connsiteY2" fmla="*/ 142875 h 1800225"/>
              <a:gd name="connsiteX3" fmla="*/ 138113 w 1181100"/>
              <a:gd name="connsiteY3" fmla="*/ 342900 h 1800225"/>
              <a:gd name="connsiteX4" fmla="*/ 185738 w 1181100"/>
              <a:gd name="connsiteY4" fmla="*/ 595312 h 1800225"/>
              <a:gd name="connsiteX5" fmla="*/ 214313 w 1181100"/>
              <a:gd name="connsiteY5" fmla="*/ 719137 h 1800225"/>
              <a:gd name="connsiteX6" fmla="*/ 295275 w 1181100"/>
              <a:gd name="connsiteY6" fmla="*/ 733425 h 1800225"/>
              <a:gd name="connsiteX7" fmla="*/ 333375 w 1181100"/>
              <a:gd name="connsiteY7" fmla="*/ 823912 h 1800225"/>
              <a:gd name="connsiteX8" fmla="*/ 333375 w 1181100"/>
              <a:gd name="connsiteY8" fmla="*/ 962025 h 1800225"/>
              <a:gd name="connsiteX9" fmla="*/ 447675 w 1181100"/>
              <a:gd name="connsiteY9" fmla="*/ 976312 h 1800225"/>
              <a:gd name="connsiteX10" fmla="*/ 504825 w 1181100"/>
              <a:gd name="connsiteY10" fmla="*/ 1166812 h 1800225"/>
              <a:gd name="connsiteX11" fmla="*/ 604838 w 1181100"/>
              <a:gd name="connsiteY11" fmla="*/ 1190625 h 1800225"/>
              <a:gd name="connsiteX12" fmla="*/ 666750 w 1181100"/>
              <a:gd name="connsiteY12" fmla="*/ 1190625 h 1800225"/>
              <a:gd name="connsiteX13" fmla="*/ 747713 w 1181100"/>
              <a:gd name="connsiteY13" fmla="*/ 1295400 h 1800225"/>
              <a:gd name="connsiteX14" fmla="*/ 823913 w 1181100"/>
              <a:gd name="connsiteY14" fmla="*/ 1347787 h 1800225"/>
              <a:gd name="connsiteX15" fmla="*/ 947738 w 1181100"/>
              <a:gd name="connsiteY15" fmla="*/ 1333500 h 1800225"/>
              <a:gd name="connsiteX16" fmla="*/ 1033463 w 1181100"/>
              <a:gd name="connsiteY16" fmla="*/ 1357312 h 1800225"/>
              <a:gd name="connsiteX17" fmla="*/ 1090613 w 1181100"/>
              <a:gd name="connsiteY17" fmla="*/ 1433512 h 1800225"/>
              <a:gd name="connsiteX18" fmla="*/ 1095375 w 1181100"/>
              <a:gd name="connsiteY18" fmla="*/ 1590675 h 1800225"/>
              <a:gd name="connsiteX19" fmla="*/ 1085850 w 1181100"/>
              <a:gd name="connsiteY19" fmla="*/ 1724025 h 1800225"/>
              <a:gd name="connsiteX20" fmla="*/ 1181100 w 1181100"/>
              <a:gd name="connsiteY20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181100" h="1800225">
                <a:moveTo>
                  <a:pt x="0" y="0"/>
                </a:moveTo>
                <a:cubicBezTo>
                  <a:pt x="39687" y="15875"/>
                  <a:pt x="83344" y="9525"/>
                  <a:pt x="100013" y="33337"/>
                </a:cubicBezTo>
                <a:cubicBezTo>
                  <a:pt x="116682" y="57150"/>
                  <a:pt x="93663" y="91281"/>
                  <a:pt x="100013" y="142875"/>
                </a:cubicBezTo>
                <a:cubicBezTo>
                  <a:pt x="106363" y="194469"/>
                  <a:pt x="123826" y="267494"/>
                  <a:pt x="138113" y="342900"/>
                </a:cubicBezTo>
                <a:cubicBezTo>
                  <a:pt x="152400" y="418306"/>
                  <a:pt x="173038" y="532606"/>
                  <a:pt x="185738" y="595312"/>
                </a:cubicBezTo>
                <a:cubicBezTo>
                  <a:pt x="198438" y="658018"/>
                  <a:pt x="196057" y="696118"/>
                  <a:pt x="214313" y="719137"/>
                </a:cubicBezTo>
                <a:cubicBezTo>
                  <a:pt x="232569" y="742156"/>
                  <a:pt x="275431" y="715963"/>
                  <a:pt x="295275" y="733425"/>
                </a:cubicBezTo>
                <a:cubicBezTo>
                  <a:pt x="315119" y="750887"/>
                  <a:pt x="327025" y="785812"/>
                  <a:pt x="333375" y="823912"/>
                </a:cubicBezTo>
                <a:cubicBezTo>
                  <a:pt x="339725" y="862012"/>
                  <a:pt x="314325" y="936625"/>
                  <a:pt x="333375" y="962025"/>
                </a:cubicBezTo>
                <a:cubicBezTo>
                  <a:pt x="352425" y="987425"/>
                  <a:pt x="419100" y="942181"/>
                  <a:pt x="447675" y="976312"/>
                </a:cubicBezTo>
                <a:cubicBezTo>
                  <a:pt x="476250" y="1010443"/>
                  <a:pt x="478631" y="1131093"/>
                  <a:pt x="504825" y="1166812"/>
                </a:cubicBezTo>
                <a:cubicBezTo>
                  <a:pt x="531019" y="1202531"/>
                  <a:pt x="577851" y="1186656"/>
                  <a:pt x="604838" y="1190625"/>
                </a:cubicBezTo>
                <a:cubicBezTo>
                  <a:pt x="631826" y="1194594"/>
                  <a:pt x="642938" y="1173163"/>
                  <a:pt x="666750" y="1190625"/>
                </a:cubicBezTo>
                <a:cubicBezTo>
                  <a:pt x="690562" y="1208087"/>
                  <a:pt x="721519" y="1269206"/>
                  <a:pt x="747713" y="1295400"/>
                </a:cubicBezTo>
                <a:cubicBezTo>
                  <a:pt x="773907" y="1321594"/>
                  <a:pt x="790576" y="1341437"/>
                  <a:pt x="823913" y="1347787"/>
                </a:cubicBezTo>
                <a:cubicBezTo>
                  <a:pt x="857251" y="1354137"/>
                  <a:pt x="912813" y="1331912"/>
                  <a:pt x="947738" y="1333500"/>
                </a:cubicBezTo>
                <a:cubicBezTo>
                  <a:pt x="982663" y="1335088"/>
                  <a:pt x="1009650" y="1340643"/>
                  <a:pt x="1033463" y="1357312"/>
                </a:cubicBezTo>
                <a:cubicBezTo>
                  <a:pt x="1057276" y="1373981"/>
                  <a:pt x="1080294" y="1394618"/>
                  <a:pt x="1090613" y="1433512"/>
                </a:cubicBezTo>
                <a:cubicBezTo>
                  <a:pt x="1100932" y="1472406"/>
                  <a:pt x="1096169" y="1542256"/>
                  <a:pt x="1095375" y="1590675"/>
                </a:cubicBezTo>
                <a:cubicBezTo>
                  <a:pt x="1094581" y="1639094"/>
                  <a:pt x="1071563" y="1689100"/>
                  <a:pt x="1085850" y="1724025"/>
                </a:cubicBezTo>
                <a:cubicBezTo>
                  <a:pt x="1100138" y="1758950"/>
                  <a:pt x="1140619" y="1779587"/>
                  <a:pt x="1181100" y="180022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6" name="Полилиния 225"/>
          <p:cNvSpPr/>
          <p:nvPr/>
        </p:nvSpPr>
        <p:spPr>
          <a:xfrm>
            <a:off x="5235945" y="5102605"/>
            <a:ext cx="1258877" cy="411747"/>
          </a:xfrm>
          <a:custGeom>
            <a:avLst/>
            <a:gdLst>
              <a:gd name="connsiteX0" fmla="*/ 0 w 1090613"/>
              <a:gd name="connsiteY0" fmla="*/ 407194 h 407194"/>
              <a:gd name="connsiteX1" fmla="*/ 42863 w 1090613"/>
              <a:gd name="connsiteY1" fmla="*/ 354806 h 407194"/>
              <a:gd name="connsiteX2" fmla="*/ 80963 w 1090613"/>
              <a:gd name="connsiteY2" fmla="*/ 302419 h 407194"/>
              <a:gd name="connsiteX3" fmla="*/ 152400 w 1090613"/>
              <a:gd name="connsiteY3" fmla="*/ 273844 h 407194"/>
              <a:gd name="connsiteX4" fmla="*/ 204788 w 1090613"/>
              <a:gd name="connsiteY4" fmla="*/ 254794 h 407194"/>
              <a:gd name="connsiteX5" fmla="*/ 242888 w 1090613"/>
              <a:gd name="connsiteY5" fmla="*/ 192881 h 407194"/>
              <a:gd name="connsiteX6" fmla="*/ 347663 w 1090613"/>
              <a:gd name="connsiteY6" fmla="*/ 145256 h 407194"/>
              <a:gd name="connsiteX7" fmla="*/ 452438 w 1090613"/>
              <a:gd name="connsiteY7" fmla="*/ 97631 h 407194"/>
              <a:gd name="connsiteX8" fmla="*/ 576263 w 1090613"/>
              <a:gd name="connsiteY8" fmla="*/ 69056 h 407194"/>
              <a:gd name="connsiteX9" fmla="*/ 666750 w 1090613"/>
              <a:gd name="connsiteY9" fmla="*/ 40481 h 407194"/>
              <a:gd name="connsiteX10" fmla="*/ 752475 w 1090613"/>
              <a:gd name="connsiteY10" fmla="*/ 116681 h 407194"/>
              <a:gd name="connsiteX11" fmla="*/ 833438 w 1090613"/>
              <a:gd name="connsiteY11" fmla="*/ 121444 h 407194"/>
              <a:gd name="connsiteX12" fmla="*/ 842963 w 1090613"/>
              <a:gd name="connsiteY12" fmla="*/ 78581 h 407194"/>
              <a:gd name="connsiteX13" fmla="*/ 866775 w 1090613"/>
              <a:gd name="connsiteY13" fmla="*/ 11906 h 407194"/>
              <a:gd name="connsiteX14" fmla="*/ 971550 w 1090613"/>
              <a:gd name="connsiteY14" fmla="*/ 7144 h 407194"/>
              <a:gd name="connsiteX15" fmla="*/ 1090613 w 1090613"/>
              <a:gd name="connsiteY15" fmla="*/ 11906 h 407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0613" h="407194">
                <a:moveTo>
                  <a:pt x="0" y="407194"/>
                </a:moveTo>
                <a:cubicBezTo>
                  <a:pt x="14684" y="389731"/>
                  <a:pt x="29369" y="372268"/>
                  <a:pt x="42863" y="354806"/>
                </a:cubicBezTo>
                <a:cubicBezTo>
                  <a:pt x="56357" y="337344"/>
                  <a:pt x="62707" y="315913"/>
                  <a:pt x="80963" y="302419"/>
                </a:cubicBezTo>
                <a:cubicBezTo>
                  <a:pt x="99219" y="288925"/>
                  <a:pt x="131763" y="281782"/>
                  <a:pt x="152400" y="273844"/>
                </a:cubicBezTo>
                <a:cubicBezTo>
                  <a:pt x="173038" y="265907"/>
                  <a:pt x="189707" y="268288"/>
                  <a:pt x="204788" y="254794"/>
                </a:cubicBezTo>
                <a:cubicBezTo>
                  <a:pt x="219869" y="241300"/>
                  <a:pt x="219076" y="211137"/>
                  <a:pt x="242888" y="192881"/>
                </a:cubicBezTo>
                <a:cubicBezTo>
                  <a:pt x="266700" y="174625"/>
                  <a:pt x="347663" y="145256"/>
                  <a:pt x="347663" y="145256"/>
                </a:cubicBezTo>
                <a:cubicBezTo>
                  <a:pt x="382588" y="129381"/>
                  <a:pt x="414338" y="110331"/>
                  <a:pt x="452438" y="97631"/>
                </a:cubicBezTo>
                <a:cubicBezTo>
                  <a:pt x="490538" y="84931"/>
                  <a:pt x="540544" y="78581"/>
                  <a:pt x="576263" y="69056"/>
                </a:cubicBezTo>
                <a:cubicBezTo>
                  <a:pt x="611982" y="59531"/>
                  <a:pt x="637381" y="32544"/>
                  <a:pt x="666750" y="40481"/>
                </a:cubicBezTo>
                <a:cubicBezTo>
                  <a:pt x="696119" y="48419"/>
                  <a:pt x="724694" y="103187"/>
                  <a:pt x="752475" y="116681"/>
                </a:cubicBezTo>
                <a:cubicBezTo>
                  <a:pt x="780256" y="130175"/>
                  <a:pt x="818357" y="127794"/>
                  <a:pt x="833438" y="121444"/>
                </a:cubicBezTo>
                <a:cubicBezTo>
                  <a:pt x="848519" y="115094"/>
                  <a:pt x="837407" y="96837"/>
                  <a:pt x="842963" y="78581"/>
                </a:cubicBezTo>
                <a:cubicBezTo>
                  <a:pt x="848519" y="60325"/>
                  <a:pt x="845344" y="23812"/>
                  <a:pt x="866775" y="11906"/>
                </a:cubicBezTo>
                <a:cubicBezTo>
                  <a:pt x="888206" y="0"/>
                  <a:pt x="934244" y="7144"/>
                  <a:pt x="971550" y="7144"/>
                </a:cubicBezTo>
                <a:cubicBezTo>
                  <a:pt x="1008856" y="7144"/>
                  <a:pt x="1049734" y="9525"/>
                  <a:pt x="1090613" y="11906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7" name="Полилиния 226"/>
          <p:cNvSpPr/>
          <p:nvPr/>
        </p:nvSpPr>
        <p:spPr>
          <a:xfrm>
            <a:off x="5230448" y="5151566"/>
            <a:ext cx="1275369" cy="420574"/>
          </a:xfrm>
          <a:custGeom>
            <a:avLst/>
            <a:gdLst>
              <a:gd name="connsiteX0" fmla="*/ 0 w 1104900"/>
              <a:gd name="connsiteY0" fmla="*/ 415925 h 415925"/>
              <a:gd name="connsiteX1" fmla="*/ 52387 w 1104900"/>
              <a:gd name="connsiteY1" fmla="*/ 377825 h 415925"/>
              <a:gd name="connsiteX2" fmla="*/ 85725 w 1104900"/>
              <a:gd name="connsiteY2" fmla="*/ 311150 h 415925"/>
              <a:gd name="connsiteX3" fmla="*/ 161925 w 1104900"/>
              <a:gd name="connsiteY3" fmla="*/ 273050 h 415925"/>
              <a:gd name="connsiteX4" fmla="*/ 223837 w 1104900"/>
              <a:gd name="connsiteY4" fmla="*/ 258762 h 415925"/>
              <a:gd name="connsiteX5" fmla="*/ 271462 w 1104900"/>
              <a:gd name="connsiteY5" fmla="*/ 196850 h 415925"/>
              <a:gd name="connsiteX6" fmla="*/ 319087 w 1104900"/>
              <a:gd name="connsiteY6" fmla="*/ 158750 h 415925"/>
              <a:gd name="connsiteX7" fmla="*/ 433387 w 1104900"/>
              <a:gd name="connsiteY7" fmla="*/ 106362 h 415925"/>
              <a:gd name="connsiteX8" fmla="*/ 533400 w 1104900"/>
              <a:gd name="connsiteY8" fmla="*/ 68262 h 415925"/>
              <a:gd name="connsiteX9" fmla="*/ 609600 w 1104900"/>
              <a:gd name="connsiteY9" fmla="*/ 53975 h 415925"/>
              <a:gd name="connsiteX10" fmla="*/ 661987 w 1104900"/>
              <a:gd name="connsiteY10" fmla="*/ 34925 h 415925"/>
              <a:gd name="connsiteX11" fmla="*/ 709612 w 1104900"/>
              <a:gd name="connsiteY11" fmla="*/ 77787 h 415925"/>
              <a:gd name="connsiteX12" fmla="*/ 766762 w 1104900"/>
              <a:gd name="connsiteY12" fmla="*/ 115887 h 415925"/>
              <a:gd name="connsiteX13" fmla="*/ 823912 w 1104900"/>
              <a:gd name="connsiteY13" fmla="*/ 115887 h 415925"/>
              <a:gd name="connsiteX14" fmla="*/ 857250 w 1104900"/>
              <a:gd name="connsiteY14" fmla="*/ 111125 h 415925"/>
              <a:gd name="connsiteX15" fmla="*/ 881062 w 1104900"/>
              <a:gd name="connsiteY15" fmla="*/ 63500 h 415925"/>
              <a:gd name="connsiteX16" fmla="*/ 890587 w 1104900"/>
              <a:gd name="connsiteY16" fmla="*/ 11112 h 415925"/>
              <a:gd name="connsiteX17" fmla="*/ 976312 w 1104900"/>
              <a:gd name="connsiteY17" fmla="*/ 1587 h 415925"/>
              <a:gd name="connsiteX18" fmla="*/ 990600 w 1104900"/>
              <a:gd name="connsiteY18" fmla="*/ 1587 h 415925"/>
              <a:gd name="connsiteX19" fmla="*/ 1104900 w 1104900"/>
              <a:gd name="connsiteY19" fmla="*/ 6350 h 415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04900" h="415925">
                <a:moveTo>
                  <a:pt x="0" y="415925"/>
                </a:moveTo>
                <a:cubicBezTo>
                  <a:pt x="19050" y="405606"/>
                  <a:pt x="38100" y="395287"/>
                  <a:pt x="52387" y="377825"/>
                </a:cubicBezTo>
                <a:cubicBezTo>
                  <a:pt x="66674" y="360363"/>
                  <a:pt x="67469" y="328612"/>
                  <a:pt x="85725" y="311150"/>
                </a:cubicBezTo>
                <a:cubicBezTo>
                  <a:pt x="103981" y="293688"/>
                  <a:pt x="138906" y="281781"/>
                  <a:pt x="161925" y="273050"/>
                </a:cubicBezTo>
                <a:cubicBezTo>
                  <a:pt x="184944" y="264319"/>
                  <a:pt x="205581" y="271462"/>
                  <a:pt x="223837" y="258762"/>
                </a:cubicBezTo>
                <a:cubicBezTo>
                  <a:pt x="242093" y="246062"/>
                  <a:pt x="255587" y="213519"/>
                  <a:pt x="271462" y="196850"/>
                </a:cubicBezTo>
                <a:cubicBezTo>
                  <a:pt x="287337" y="180181"/>
                  <a:pt x="292100" y="173831"/>
                  <a:pt x="319087" y="158750"/>
                </a:cubicBezTo>
                <a:cubicBezTo>
                  <a:pt x="346074" y="143669"/>
                  <a:pt x="397668" y="121443"/>
                  <a:pt x="433387" y="106362"/>
                </a:cubicBezTo>
                <a:cubicBezTo>
                  <a:pt x="469106" y="91281"/>
                  <a:pt x="504031" y="76993"/>
                  <a:pt x="533400" y="68262"/>
                </a:cubicBezTo>
                <a:cubicBezTo>
                  <a:pt x="562769" y="59531"/>
                  <a:pt x="588169" y="59531"/>
                  <a:pt x="609600" y="53975"/>
                </a:cubicBezTo>
                <a:cubicBezTo>
                  <a:pt x="631031" y="48419"/>
                  <a:pt x="645318" y="30956"/>
                  <a:pt x="661987" y="34925"/>
                </a:cubicBezTo>
                <a:cubicBezTo>
                  <a:pt x="678656" y="38894"/>
                  <a:pt x="692150" y="64293"/>
                  <a:pt x="709612" y="77787"/>
                </a:cubicBezTo>
                <a:cubicBezTo>
                  <a:pt x="727075" y="91281"/>
                  <a:pt x="747712" y="109537"/>
                  <a:pt x="766762" y="115887"/>
                </a:cubicBezTo>
                <a:cubicBezTo>
                  <a:pt x="785812" y="122237"/>
                  <a:pt x="808831" y="116681"/>
                  <a:pt x="823912" y="115887"/>
                </a:cubicBezTo>
                <a:cubicBezTo>
                  <a:pt x="838993" y="115093"/>
                  <a:pt x="847725" y="119856"/>
                  <a:pt x="857250" y="111125"/>
                </a:cubicBezTo>
                <a:cubicBezTo>
                  <a:pt x="866775" y="102394"/>
                  <a:pt x="875506" y="80169"/>
                  <a:pt x="881062" y="63500"/>
                </a:cubicBezTo>
                <a:cubicBezTo>
                  <a:pt x="886618" y="46831"/>
                  <a:pt x="874712" y="21431"/>
                  <a:pt x="890587" y="11112"/>
                </a:cubicBezTo>
                <a:cubicBezTo>
                  <a:pt x="906462" y="793"/>
                  <a:pt x="959643" y="3174"/>
                  <a:pt x="976312" y="1587"/>
                </a:cubicBezTo>
                <a:cubicBezTo>
                  <a:pt x="992981" y="0"/>
                  <a:pt x="990600" y="1587"/>
                  <a:pt x="990600" y="1587"/>
                </a:cubicBezTo>
                <a:lnTo>
                  <a:pt x="1104900" y="6350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8" name="Полилиния 227"/>
          <p:cNvSpPr/>
          <p:nvPr/>
        </p:nvSpPr>
        <p:spPr>
          <a:xfrm>
            <a:off x="5202960" y="5068896"/>
            <a:ext cx="1297359" cy="406929"/>
          </a:xfrm>
          <a:custGeom>
            <a:avLst/>
            <a:gdLst>
              <a:gd name="connsiteX0" fmla="*/ 0 w 1123950"/>
              <a:gd name="connsiteY0" fmla="*/ 402431 h 402431"/>
              <a:gd name="connsiteX1" fmla="*/ 52388 w 1123950"/>
              <a:gd name="connsiteY1" fmla="*/ 350043 h 402431"/>
              <a:gd name="connsiteX2" fmla="*/ 95250 w 1123950"/>
              <a:gd name="connsiteY2" fmla="*/ 297656 h 402431"/>
              <a:gd name="connsiteX3" fmla="*/ 180975 w 1123950"/>
              <a:gd name="connsiteY3" fmla="*/ 273843 h 402431"/>
              <a:gd name="connsiteX4" fmla="*/ 238125 w 1123950"/>
              <a:gd name="connsiteY4" fmla="*/ 216693 h 402431"/>
              <a:gd name="connsiteX5" fmla="*/ 314325 w 1123950"/>
              <a:gd name="connsiteY5" fmla="*/ 154781 h 402431"/>
              <a:gd name="connsiteX6" fmla="*/ 419100 w 1123950"/>
              <a:gd name="connsiteY6" fmla="*/ 111918 h 402431"/>
              <a:gd name="connsiteX7" fmla="*/ 490538 w 1123950"/>
              <a:gd name="connsiteY7" fmla="*/ 88106 h 402431"/>
              <a:gd name="connsiteX8" fmla="*/ 566738 w 1123950"/>
              <a:gd name="connsiteY8" fmla="*/ 69056 h 402431"/>
              <a:gd name="connsiteX9" fmla="*/ 642938 w 1123950"/>
              <a:gd name="connsiteY9" fmla="*/ 40481 h 402431"/>
              <a:gd name="connsiteX10" fmla="*/ 700088 w 1123950"/>
              <a:gd name="connsiteY10" fmla="*/ 30956 h 402431"/>
              <a:gd name="connsiteX11" fmla="*/ 747713 w 1123950"/>
              <a:gd name="connsiteY11" fmla="*/ 64293 h 402431"/>
              <a:gd name="connsiteX12" fmla="*/ 800100 w 1123950"/>
              <a:gd name="connsiteY12" fmla="*/ 111918 h 402431"/>
              <a:gd name="connsiteX13" fmla="*/ 828675 w 1123950"/>
              <a:gd name="connsiteY13" fmla="*/ 73818 h 402431"/>
              <a:gd name="connsiteX14" fmla="*/ 862013 w 1123950"/>
              <a:gd name="connsiteY14" fmla="*/ 21431 h 402431"/>
              <a:gd name="connsiteX15" fmla="*/ 971550 w 1123950"/>
              <a:gd name="connsiteY15" fmla="*/ 2381 h 402431"/>
              <a:gd name="connsiteX16" fmla="*/ 1123950 w 1123950"/>
              <a:gd name="connsiteY16" fmla="*/ 7143 h 402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23950" h="402431">
                <a:moveTo>
                  <a:pt x="0" y="402431"/>
                </a:moveTo>
                <a:cubicBezTo>
                  <a:pt x="18256" y="384968"/>
                  <a:pt x="36513" y="367505"/>
                  <a:pt x="52388" y="350043"/>
                </a:cubicBezTo>
                <a:cubicBezTo>
                  <a:pt x="68263" y="332581"/>
                  <a:pt x="73819" y="310356"/>
                  <a:pt x="95250" y="297656"/>
                </a:cubicBezTo>
                <a:cubicBezTo>
                  <a:pt x="116681" y="284956"/>
                  <a:pt x="157163" y="287337"/>
                  <a:pt x="180975" y="273843"/>
                </a:cubicBezTo>
                <a:cubicBezTo>
                  <a:pt x="204787" y="260349"/>
                  <a:pt x="215900" y="236537"/>
                  <a:pt x="238125" y="216693"/>
                </a:cubicBezTo>
                <a:cubicBezTo>
                  <a:pt x="260350" y="196849"/>
                  <a:pt x="284163" y="172243"/>
                  <a:pt x="314325" y="154781"/>
                </a:cubicBezTo>
                <a:cubicBezTo>
                  <a:pt x="344487" y="137319"/>
                  <a:pt x="389731" y="123030"/>
                  <a:pt x="419100" y="111918"/>
                </a:cubicBezTo>
                <a:cubicBezTo>
                  <a:pt x="448469" y="100806"/>
                  <a:pt x="465932" y="95250"/>
                  <a:pt x="490538" y="88106"/>
                </a:cubicBezTo>
                <a:cubicBezTo>
                  <a:pt x="515144" y="80962"/>
                  <a:pt x="541338" y="76993"/>
                  <a:pt x="566738" y="69056"/>
                </a:cubicBezTo>
                <a:cubicBezTo>
                  <a:pt x="592138" y="61119"/>
                  <a:pt x="620713" y="46831"/>
                  <a:pt x="642938" y="40481"/>
                </a:cubicBezTo>
                <a:cubicBezTo>
                  <a:pt x="665163" y="34131"/>
                  <a:pt x="682625" y="26987"/>
                  <a:pt x="700088" y="30956"/>
                </a:cubicBezTo>
                <a:cubicBezTo>
                  <a:pt x="717551" y="34925"/>
                  <a:pt x="731044" y="50799"/>
                  <a:pt x="747713" y="64293"/>
                </a:cubicBezTo>
                <a:cubicBezTo>
                  <a:pt x="764382" y="77787"/>
                  <a:pt x="786606" y="110331"/>
                  <a:pt x="800100" y="111918"/>
                </a:cubicBezTo>
                <a:cubicBezTo>
                  <a:pt x="813594" y="113505"/>
                  <a:pt x="818356" y="88899"/>
                  <a:pt x="828675" y="73818"/>
                </a:cubicBezTo>
                <a:cubicBezTo>
                  <a:pt x="838994" y="58737"/>
                  <a:pt x="838201" y="33337"/>
                  <a:pt x="862013" y="21431"/>
                </a:cubicBezTo>
                <a:cubicBezTo>
                  <a:pt x="885825" y="9525"/>
                  <a:pt x="927894" y="4762"/>
                  <a:pt x="971550" y="2381"/>
                </a:cubicBezTo>
                <a:cubicBezTo>
                  <a:pt x="1015206" y="0"/>
                  <a:pt x="1069578" y="3571"/>
                  <a:pt x="1123950" y="7143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9" name="AutoShape 20"/>
          <p:cNvSpPr>
            <a:spLocks noChangeArrowheads="1"/>
          </p:cNvSpPr>
          <p:nvPr/>
        </p:nvSpPr>
        <p:spPr bwMode="auto">
          <a:xfrm>
            <a:off x="5596129" y="5143512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32" name="AutoShape 19"/>
          <p:cNvSpPr>
            <a:spLocks noChangeArrowheads="1"/>
          </p:cNvSpPr>
          <p:nvPr/>
        </p:nvSpPr>
        <p:spPr bwMode="auto">
          <a:xfrm>
            <a:off x="6690674" y="5446153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Almaty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33" name="AutoShape 19"/>
          <p:cNvSpPr>
            <a:spLocks noChangeArrowheads="1"/>
          </p:cNvSpPr>
          <p:nvPr/>
        </p:nvSpPr>
        <p:spPr bwMode="auto">
          <a:xfrm>
            <a:off x="5178526" y="4803211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Taraz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34" name="AutoShape 19"/>
          <p:cNvSpPr>
            <a:spLocks noChangeArrowheads="1"/>
          </p:cNvSpPr>
          <p:nvPr/>
        </p:nvSpPr>
        <p:spPr bwMode="auto">
          <a:xfrm>
            <a:off x="4249832" y="5660467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Shymkent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35" name="AutoShape 19"/>
          <p:cNvSpPr>
            <a:spLocks noChangeArrowheads="1"/>
          </p:cNvSpPr>
          <p:nvPr/>
        </p:nvSpPr>
        <p:spPr bwMode="auto">
          <a:xfrm>
            <a:off x="3428992" y="4714884"/>
            <a:ext cx="105646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Kyzylorda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36" name="AutoShape 19"/>
          <p:cNvSpPr>
            <a:spLocks noChangeArrowheads="1"/>
          </p:cNvSpPr>
          <p:nvPr/>
        </p:nvSpPr>
        <p:spPr bwMode="auto">
          <a:xfrm>
            <a:off x="5643570" y="2214554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ASTANA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46" name="AutoShape 19"/>
          <p:cNvSpPr>
            <a:spLocks noChangeArrowheads="1"/>
          </p:cNvSpPr>
          <p:nvPr/>
        </p:nvSpPr>
        <p:spPr bwMode="auto">
          <a:xfrm>
            <a:off x="6964476" y="1588501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Pavlodar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72" name="AutoShape 19"/>
          <p:cNvSpPr>
            <a:spLocks noChangeArrowheads="1"/>
          </p:cNvSpPr>
          <p:nvPr/>
        </p:nvSpPr>
        <p:spPr bwMode="auto">
          <a:xfrm>
            <a:off x="6463081" y="2629421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Semey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85" name="AutoShape 20"/>
          <p:cNvSpPr>
            <a:spLocks noChangeArrowheads="1"/>
          </p:cNvSpPr>
          <p:nvPr/>
        </p:nvSpPr>
        <p:spPr bwMode="auto">
          <a:xfrm>
            <a:off x="8144654" y="2507429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86" name="AutoShape 19"/>
          <p:cNvSpPr>
            <a:spLocks noChangeArrowheads="1"/>
          </p:cNvSpPr>
          <p:nvPr/>
        </p:nvSpPr>
        <p:spPr bwMode="auto">
          <a:xfrm>
            <a:off x="7429520" y="2155123"/>
            <a:ext cx="1556437" cy="26144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Ust’-Kamenogorsk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87" name="AutoShape 19"/>
          <p:cNvSpPr>
            <a:spLocks noChangeArrowheads="1"/>
          </p:cNvSpPr>
          <p:nvPr/>
        </p:nvSpPr>
        <p:spPr bwMode="auto">
          <a:xfrm>
            <a:off x="1606626" y="2445757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Aktobe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88" name="AutoShape 19"/>
          <p:cNvSpPr>
            <a:spLocks noChangeArrowheads="1"/>
          </p:cNvSpPr>
          <p:nvPr/>
        </p:nvSpPr>
        <p:spPr bwMode="auto">
          <a:xfrm>
            <a:off x="262966" y="4508106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Aktau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91" name="AutoShape 20"/>
          <p:cNvSpPr>
            <a:spLocks noChangeArrowheads="1"/>
          </p:cNvSpPr>
          <p:nvPr/>
        </p:nvSpPr>
        <p:spPr bwMode="auto">
          <a:xfrm>
            <a:off x="1809770" y="4293818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92" name="AutoShape 19"/>
          <p:cNvSpPr>
            <a:spLocks noChangeArrowheads="1"/>
          </p:cNvSpPr>
          <p:nvPr/>
        </p:nvSpPr>
        <p:spPr bwMode="auto">
          <a:xfrm>
            <a:off x="942725" y="4092986"/>
            <a:ext cx="822234" cy="26886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Beineu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93" name="AutoShape 19"/>
          <p:cNvSpPr>
            <a:spLocks noChangeArrowheads="1"/>
          </p:cNvSpPr>
          <p:nvPr/>
        </p:nvSpPr>
        <p:spPr bwMode="auto">
          <a:xfrm>
            <a:off x="7894351" y="4857760"/>
            <a:ext cx="678177" cy="27864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pitchFamily="34" charset="0"/>
              </a:rPr>
              <a:t>Khorgos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294" name="AutoShape 20"/>
          <p:cNvSpPr>
            <a:spLocks noChangeArrowheads="1"/>
          </p:cNvSpPr>
          <p:nvPr/>
        </p:nvSpPr>
        <p:spPr bwMode="auto">
          <a:xfrm>
            <a:off x="7810707" y="4615743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14" name="Полилиния 313"/>
          <p:cNvSpPr/>
          <p:nvPr/>
        </p:nvSpPr>
        <p:spPr>
          <a:xfrm>
            <a:off x="5234473" y="5598367"/>
            <a:ext cx="96417" cy="494523"/>
          </a:xfrm>
          <a:custGeom>
            <a:avLst/>
            <a:gdLst>
              <a:gd name="connsiteX0" fmla="*/ 0 w 96417"/>
              <a:gd name="connsiteY0" fmla="*/ 0 h 494523"/>
              <a:gd name="connsiteX1" fmla="*/ 74645 w 96417"/>
              <a:gd name="connsiteY1" fmla="*/ 130629 h 494523"/>
              <a:gd name="connsiteX2" fmla="*/ 93307 w 96417"/>
              <a:gd name="connsiteY2" fmla="*/ 307911 h 494523"/>
              <a:gd name="connsiteX3" fmla="*/ 55984 w 96417"/>
              <a:gd name="connsiteY3" fmla="*/ 494523 h 494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417" h="494523">
                <a:moveTo>
                  <a:pt x="0" y="0"/>
                </a:moveTo>
                <a:cubicBezTo>
                  <a:pt x="29547" y="39655"/>
                  <a:pt x="59094" y="79311"/>
                  <a:pt x="74645" y="130629"/>
                </a:cubicBezTo>
                <a:cubicBezTo>
                  <a:pt x="90196" y="181947"/>
                  <a:pt x="96417" y="247262"/>
                  <a:pt x="93307" y="307911"/>
                </a:cubicBezTo>
                <a:cubicBezTo>
                  <a:pt x="90197" y="368560"/>
                  <a:pt x="73090" y="431541"/>
                  <a:pt x="55984" y="494523"/>
                </a:cubicBezTo>
              </a:path>
            </a:pathLst>
          </a:custGeom>
          <a:ln w="152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8" name="Полилиния 317"/>
          <p:cNvSpPr/>
          <p:nvPr/>
        </p:nvSpPr>
        <p:spPr>
          <a:xfrm>
            <a:off x="4086808" y="4469363"/>
            <a:ext cx="205274" cy="74645"/>
          </a:xfrm>
          <a:custGeom>
            <a:avLst/>
            <a:gdLst>
              <a:gd name="connsiteX0" fmla="*/ 0 w 205274"/>
              <a:gd name="connsiteY0" fmla="*/ 0 h 74645"/>
              <a:gd name="connsiteX1" fmla="*/ 205274 w 205274"/>
              <a:gd name="connsiteY1" fmla="*/ 74645 h 74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5274" h="74645">
                <a:moveTo>
                  <a:pt x="0" y="0"/>
                </a:moveTo>
                <a:lnTo>
                  <a:pt x="205274" y="74645"/>
                </a:ln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25" name="AutoShape 20"/>
          <p:cNvSpPr>
            <a:spLocks noChangeArrowheads="1"/>
          </p:cNvSpPr>
          <p:nvPr/>
        </p:nvSpPr>
        <p:spPr bwMode="auto">
          <a:xfrm>
            <a:off x="4238807" y="4472867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19" name="Полилиния 318"/>
          <p:cNvSpPr/>
          <p:nvPr/>
        </p:nvSpPr>
        <p:spPr>
          <a:xfrm>
            <a:off x="4460033" y="4553339"/>
            <a:ext cx="765110" cy="992154"/>
          </a:xfrm>
          <a:custGeom>
            <a:avLst/>
            <a:gdLst>
              <a:gd name="connsiteX0" fmla="*/ 0 w 765110"/>
              <a:gd name="connsiteY0" fmla="*/ 0 h 992154"/>
              <a:gd name="connsiteX1" fmla="*/ 130628 w 765110"/>
              <a:gd name="connsiteY1" fmla="*/ 111967 h 992154"/>
              <a:gd name="connsiteX2" fmla="*/ 223934 w 765110"/>
              <a:gd name="connsiteY2" fmla="*/ 233265 h 992154"/>
              <a:gd name="connsiteX3" fmla="*/ 279918 w 765110"/>
              <a:gd name="connsiteY3" fmla="*/ 345232 h 992154"/>
              <a:gd name="connsiteX4" fmla="*/ 373224 w 765110"/>
              <a:gd name="connsiteY4" fmla="*/ 475861 h 992154"/>
              <a:gd name="connsiteX5" fmla="*/ 475861 w 765110"/>
              <a:gd name="connsiteY5" fmla="*/ 625151 h 992154"/>
              <a:gd name="connsiteX6" fmla="*/ 475861 w 765110"/>
              <a:gd name="connsiteY6" fmla="*/ 727788 h 992154"/>
              <a:gd name="connsiteX7" fmla="*/ 485191 w 765110"/>
              <a:gd name="connsiteY7" fmla="*/ 830424 h 992154"/>
              <a:gd name="connsiteX8" fmla="*/ 653143 w 765110"/>
              <a:gd name="connsiteY8" fmla="*/ 970383 h 992154"/>
              <a:gd name="connsiteX9" fmla="*/ 765110 w 765110"/>
              <a:gd name="connsiteY9" fmla="*/ 961053 h 992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5110" h="992154">
                <a:moveTo>
                  <a:pt x="0" y="0"/>
                </a:moveTo>
                <a:cubicBezTo>
                  <a:pt x="46653" y="36544"/>
                  <a:pt x="93306" y="73089"/>
                  <a:pt x="130628" y="111967"/>
                </a:cubicBezTo>
                <a:cubicBezTo>
                  <a:pt x="167950" y="150845"/>
                  <a:pt x="199052" y="194388"/>
                  <a:pt x="223934" y="233265"/>
                </a:cubicBezTo>
                <a:cubicBezTo>
                  <a:pt x="248816" y="272142"/>
                  <a:pt x="255036" y="304799"/>
                  <a:pt x="279918" y="345232"/>
                </a:cubicBezTo>
                <a:cubicBezTo>
                  <a:pt x="304800" y="385665"/>
                  <a:pt x="340567" y="429208"/>
                  <a:pt x="373224" y="475861"/>
                </a:cubicBezTo>
                <a:cubicBezTo>
                  <a:pt x="405881" y="522514"/>
                  <a:pt x="458755" y="583163"/>
                  <a:pt x="475861" y="625151"/>
                </a:cubicBezTo>
                <a:cubicBezTo>
                  <a:pt x="492967" y="667139"/>
                  <a:pt x="474306" y="693576"/>
                  <a:pt x="475861" y="727788"/>
                </a:cubicBezTo>
                <a:cubicBezTo>
                  <a:pt x="477416" y="762000"/>
                  <a:pt x="455644" y="789992"/>
                  <a:pt x="485191" y="830424"/>
                </a:cubicBezTo>
                <a:cubicBezTo>
                  <a:pt x="514738" y="870857"/>
                  <a:pt x="606490" y="948612"/>
                  <a:pt x="653143" y="970383"/>
                </a:cubicBezTo>
                <a:cubicBezTo>
                  <a:pt x="699796" y="992154"/>
                  <a:pt x="732453" y="976603"/>
                  <a:pt x="765110" y="961053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27" name="Полилиния 326"/>
          <p:cNvSpPr/>
          <p:nvPr/>
        </p:nvSpPr>
        <p:spPr>
          <a:xfrm>
            <a:off x="4478694" y="4506686"/>
            <a:ext cx="653143" cy="979714"/>
          </a:xfrm>
          <a:custGeom>
            <a:avLst/>
            <a:gdLst>
              <a:gd name="connsiteX0" fmla="*/ 0 w 653143"/>
              <a:gd name="connsiteY0" fmla="*/ 0 h 979714"/>
              <a:gd name="connsiteX1" fmla="*/ 167951 w 653143"/>
              <a:gd name="connsiteY1" fmla="*/ 158620 h 979714"/>
              <a:gd name="connsiteX2" fmla="*/ 251926 w 653143"/>
              <a:gd name="connsiteY2" fmla="*/ 289249 h 979714"/>
              <a:gd name="connsiteX3" fmla="*/ 317241 w 653143"/>
              <a:gd name="connsiteY3" fmla="*/ 410547 h 979714"/>
              <a:gd name="connsiteX4" fmla="*/ 429208 w 653143"/>
              <a:gd name="connsiteY4" fmla="*/ 550506 h 979714"/>
              <a:gd name="connsiteX5" fmla="*/ 494522 w 653143"/>
              <a:gd name="connsiteY5" fmla="*/ 653143 h 979714"/>
              <a:gd name="connsiteX6" fmla="*/ 485192 w 653143"/>
              <a:gd name="connsiteY6" fmla="*/ 839755 h 979714"/>
              <a:gd name="connsiteX7" fmla="*/ 653143 w 653143"/>
              <a:gd name="connsiteY7" fmla="*/ 979714 h 979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3143" h="979714">
                <a:moveTo>
                  <a:pt x="0" y="0"/>
                </a:moveTo>
                <a:cubicBezTo>
                  <a:pt x="62981" y="55206"/>
                  <a:pt x="125963" y="110412"/>
                  <a:pt x="167951" y="158620"/>
                </a:cubicBezTo>
                <a:cubicBezTo>
                  <a:pt x="209939" y="206828"/>
                  <a:pt x="227044" y="247261"/>
                  <a:pt x="251926" y="289249"/>
                </a:cubicBezTo>
                <a:cubicBezTo>
                  <a:pt x="276808" y="331237"/>
                  <a:pt x="287694" y="367004"/>
                  <a:pt x="317241" y="410547"/>
                </a:cubicBezTo>
                <a:cubicBezTo>
                  <a:pt x="346788" y="454090"/>
                  <a:pt x="399661" y="510073"/>
                  <a:pt x="429208" y="550506"/>
                </a:cubicBezTo>
                <a:cubicBezTo>
                  <a:pt x="458755" y="590939"/>
                  <a:pt x="485191" y="604935"/>
                  <a:pt x="494522" y="653143"/>
                </a:cubicBezTo>
                <a:cubicBezTo>
                  <a:pt x="503853" y="701351"/>
                  <a:pt x="458755" y="785326"/>
                  <a:pt x="485192" y="839755"/>
                </a:cubicBezTo>
                <a:cubicBezTo>
                  <a:pt x="511629" y="894184"/>
                  <a:pt x="582386" y="936949"/>
                  <a:pt x="653143" y="979714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29" name="Полилиния 328"/>
          <p:cNvSpPr/>
          <p:nvPr/>
        </p:nvSpPr>
        <p:spPr>
          <a:xfrm>
            <a:off x="4460033" y="4599992"/>
            <a:ext cx="690465" cy="989045"/>
          </a:xfrm>
          <a:custGeom>
            <a:avLst/>
            <a:gdLst>
              <a:gd name="connsiteX0" fmla="*/ 0 w 690465"/>
              <a:gd name="connsiteY0" fmla="*/ 0 h 989045"/>
              <a:gd name="connsiteX1" fmla="*/ 111967 w 690465"/>
              <a:gd name="connsiteY1" fmla="*/ 111967 h 989045"/>
              <a:gd name="connsiteX2" fmla="*/ 214604 w 690465"/>
              <a:gd name="connsiteY2" fmla="*/ 242596 h 989045"/>
              <a:gd name="connsiteX3" fmla="*/ 279918 w 690465"/>
              <a:gd name="connsiteY3" fmla="*/ 391886 h 989045"/>
              <a:gd name="connsiteX4" fmla="*/ 391885 w 690465"/>
              <a:gd name="connsiteY4" fmla="*/ 531845 h 989045"/>
              <a:gd name="connsiteX5" fmla="*/ 447869 w 690465"/>
              <a:gd name="connsiteY5" fmla="*/ 606490 h 989045"/>
              <a:gd name="connsiteX6" fmla="*/ 438538 w 690465"/>
              <a:gd name="connsiteY6" fmla="*/ 774441 h 989045"/>
              <a:gd name="connsiteX7" fmla="*/ 531845 w 690465"/>
              <a:gd name="connsiteY7" fmla="*/ 886408 h 989045"/>
              <a:gd name="connsiteX8" fmla="*/ 690465 w 690465"/>
              <a:gd name="connsiteY8" fmla="*/ 989045 h 989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0465" h="989045">
                <a:moveTo>
                  <a:pt x="0" y="0"/>
                </a:moveTo>
                <a:cubicBezTo>
                  <a:pt x="38100" y="35767"/>
                  <a:pt x="76200" y="71534"/>
                  <a:pt x="111967" y="111967"/>
                </a:cubicBezTo>
                <a:cubicBezTo>
                  <a:pt x="147734" y="152400"/>
                  <a:pt x="186612" y="195943"/>
                  <a:pt x="214604" y="242596"/>
                </a:cubicBezTo>
                <a:cubicBezTo>
                  <a:pt x="242596" y="289249"/>
                  <a:pt x="250371" y="343678"/>
                  <a:pt x="279918" y="391886"/>
                </a:cubicBezTo>
                <a:cubicBezTo>
                  <a:pt x="309465" y="440094"/>
                  <a:pt x="363893" y="496078"/>
                  <a:pt x="391885" y="531845"/>
                </a:cubicBezTo>
                <a:cubicBezTo>
                  <a:pt x="419877" y="567612"/>
                  <a:pt x="440094" y="566057"/>
                  <a:pt x="447869" y="606490"/>
                </a:cubicBezTo>
                <a:cubicBezTo>
                  <a:pt x="455644" y="646923"/>
                  <a:pt x="424542" y="727788"/>
                  <a:pt x="438538" y="774441"/>
                </a:cubicBezTo>
                <a:cubicBezTo>
                  <a:pt x="452534" y="821094"/>
                  <a:pt x="489857" y="850641"/>
                  <a:pt x="531845" y="886408"/>
                </a:cubicBezTo>
                <a:cubicBezTo>
                  <a:pt x="573833" y="922175"/>
                  <a:pt x="632149" y="955610"/>
                  <a:pt x="690465" y="989045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191" name="AutoShape 20"/>
          <p:cNvSpPr>
            <a:spLocks noChangeArrowheads="1"/>
          </p:cNvSpPr>
          <p:nvPr/>
        </p:nvSpPr>
        <p:spPr bwMode="auto">
          <a:xfrm>
            <a:off x="5072066" y="5472999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30" name="Полилиния 329"/>
          <p:cNvSpPr/>
          <p:nvPr/>
        </p:nvSpPr>
        <p:spPr>
          <a:xfrm>
            <a:off x="5281127" y="5673012"/>
            <a:ext cx="38877" cy="419878"/>
          </a:xfrm>
          <a:custGeom>
            <a:avLst/>
            <a:gdLst>
              <a:gd name="connsiteX0" fmla="*/ 0 w 38877"/>
              <a:gd name="connsiteY0" fmla="*/ 0 h 419878"/>
              <a:gd name="connsiteX1" fmla="*/ 37322 w 38877"/>
              <a:gd name="connsiteY1" fmla="*/ 167951 h 419878"/>
              <a:gd name="connsiteX2" fmla="*/ 9330 w 38877"/>
              <a:gd name="connsiteY2" fmla="*/ 419878 h 419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877" h="419878">
                <a:moveTo>
                  <a:pt x="0" y="0"/>
                </a:moveTo>
                <a:cubicBezTo>
                  <a:pt x="17883" y="48985"/>
                  <a:pt x="35767" y="97971"/>
                  <a:pt x="37322" y="167951"/>
                </a:cubicBezTo>
                <a:cubicBezTo>
                  <a:pt x="38877" y="237931"/>
                  <a:pt x="24103" y="328904"/>
                  <a:pt x="9330" y="419878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31" name="Полилиния 330"/>
          <p:cNvSpPr/>
          <p:nvPr/>
        </p:nvSpPr>
        <p:spPr>
          <a:xfrm>
            <a:off x="5309118" y="5654351"/>
            <a:ext cx="54429" cy="438539"/>
          </a:xfrm>
          <a:custGeom>
            <a:avLst/>
            <a:gdLst>
              <a:gd name="connsiteX0" fmla="*/ 0 w 54429"/>
              <a:gd name="connsiteY0" fmla="*/ 0 h 438539"/>
              <a:gd name="connsiteX1" fmla="*/ 46653 w 54429"/>
              <a:gd name="connsiteY1" fmla="*/ 121298 h 438539"/>
              <a:gd name="connsiteX2" fmla="*/ 46653 w 54429"/>
              <a:gd name="connsiteY2" fmla="*/ 307910 h 438539"/>
              <a:gd name="connsiteX3" fmla="*/ 18662 w 54429"/>
              <a:gd name="connsiteY3" fmla="*/ 438539 h 438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9" h="438539">
                <a:moveTo>
                  <a:pt x="0" y="0"/>
                </a:moveTo>
                <a:cubicBezTo>
                  <a:pt x="19439" y="34990"/>
                  <a:pt x="38878" y="69980"/>
                  <a:pt x="46653" y="121298"/>
                </a:cubicBezTo>
                <a:cubicBezTo>
                  <a:pt x="54429" y="172616"/>
                  <a:pt x="51318" y="255037"/>
                  <a:pt x="46653" y="307910"/>
                </a:cubicBezTo>
                <a:cubicBezTo>
                  <a:pt x="41988" y="360784"/>
                  <a:pt x="30325" y="399661"/>
                  <a:pt x="18662" y="43853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33" name="Полилиния 332"/>
          <p:cNvSpPr/>
          <p:nvPr/>
        </p:nvSpPr>
        <p:spPr>
          <a:xfrm>
            <a:off x="5234473" y="5673012"/>
            <a:ext cx="63760" cy="410547"/>
          </a:xfrm>
          <a:custGeom>
            <a:avLst/>
            <a:gdLst>
              <a:gd name="connsiteX0" fmla="*/ 0 w 63760"/>
              <a:gd name="connsiteY0" fmla="*/ 0 h 410547"/>
              <a:gd name="connsiteX1" fmla="*/ 55984 w 63760"/>
              <a:gd name="connsiteY1" fmla="*/ 102637 h 410547"/>
              <a:gd name="connsiteX2" fmla="*/ 46654 w 63760"/>
              <a:gd name="connsiteY2" fmla="*/ 251927 h 410547"/>
              <a:gd name="connsiteX3" fmla="*/ 9331 w 63760"/>
              <a:gd name="connsiteY3" fmla="*/ 410547 h 410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760" h="410547">
                <a:moveTo>
                  <a:pt x="0" y="0"/>
                </a:moveTo>
                <a:cubicBezTo>
                  <a:pt x="24104" y="30324"/>
                  <a:pt x="48208" y="60649"/>
                  <a:pt x="55984" y="102637"/>
                </a:cubicBezTo>
                <a:cubicBezTo>
                  <a:pt x="63760" y="144625"/>
                  <a:pt x="54430" y="200609"/>
                  <a:pt x="46654" y="251927"/>
                </a:cubicBezTo>
                <a:cubicBezTo>
                  <a:pt x="38879" y="303245"/>
                  <a:pt x="24105" y="356896"/>
                  <a:pt x="9331" y="410547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19" name="AutoShape 20"/>
          <p:cNvSpPr>
            <a:spLocks noChangeArrowheads="1"/>
          </p:cNvSpPr>
          <p:nvPr/>
        </p:nvSpPr>
        <p:spPr bwMode="auto">
          <a:xfrm>
            <a:off x="6500826" y="5000637"/>
            <a:ext cx="235951" cy="214314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35" name="Полилиния 334"/>
          <p:cNvSpPr/>
          <p:nvPr/>
        </p:nvSpPr>
        <p:spPr>
          <a:xfrm>
            <a:off x="6736702" y="4711959"/>
            <a:ext cx="1063690" cy="426098"/>
          </a:xfrm>
          <a:custGeom>
            <a:avLst/>
            <a:gdLst>
              <a:gd name="connsiteX0" fmla="*/ 0 w 1063690"/>
              <a:gd name="connsiteY0" fmla="*/ 401217 h 426098"/>
              <a:gd name="connsiteX1" fmla="*/ 139959 w 1063690"/>
              <a:gd name="connsiteY1" fmla="*/ 419878 h 426098"/>
              <a:gd name="connsiteX2" fmla="*/ 307910 w 1063690"/>
              <a:gd name="connsiteY2" fmla="*/ 363894 h 426098"/>
              <a:gd name="connsiteX3" fmla="*/ 447869 w 1063690"/>
              <a:gd name="connsiteY3" fmla="*/ 298580 h 426098"/>
              <a:gd name="connsiteX4" fmla="*/ 513184 w 1063690"/>
              <a:gd name="connsiteY4" fmla="*/ 335902 h 426098"/>
              <a:gd name="connsiteX5" fmla="*/ 643812 w 1063690"/>
              <a:gd name="connsiteY5" fmla="*/ 298580 h 426098"/>
              <a:gd name="connsiteX6" fmla="*/ 746449 w 1063690"/>
              <a:gd name="connsiteY6" fmla="*/ 270588 h 426098"/>
              <a:gd name="connsiteX7" fmla="*/ 839755 w 1063690"/>
              <a:gd name="connsiteY7" fmla="*/ 298580 h 426098"/>
              <a:gd name="connsiteX8" fmla="*/ 867747 w 1063690"/>
              <a:gd name="connsiteY8" fmla="*/ 139959 h 426098"/>
              <a:gd name="connsiteX9" fmla="*/ 951722 w 1063690"/>
              <a:gd name="connsiteY9" fmla="*/ 37323 h 426098"/>
              <a:gd name="connsiteX10" fmla="*/ 1063690 w 1063690"/>
              <a:gd name="connsiteY10" fmla="*/ 0 h 426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63690" h="426098">
                <a:moveTo>
                  <a:pt x="0" y="401217"/>
                </a:moveTo>
                <a:cubicBezTo>
                  <a:pt x="44320" y="413657"/>
                  <a:pt x="88641" y="426098"/>
                  <a:pt x="139959" y="419878"/>
                </a:cubicBezTo>
                <a:cubicBezTo>
                  <a:pt x="191277" y="413658"/>
                  <a:pt x="256592" y="384110"/>
                  <a:pt x="307910" y="363894"/>
                </a:cubicBezTo>
                <a:cubicBezTo>
                  <a:pt x="359228" y="343678"/>
                  <a:pt x="413657" y="303245"/>
                  <a:pt x="447869" y="298580"/>
                </a:cubicBezTo>
                <a:cubicBezTo>
                  <a:pt x="482081" y="293915"/>
                  <a:pt x="480527" y="335902"/>
                  <a:pt x="513184" y="335902"/>
                </a:cubicBezTo>
                <a:cubicBezTo>
                  <a:pt x="545841" y="335902"/>
                  <a:pt x="643812" y="298580"/>
                  <a:pt x="643812" y="298580"/>
                </a:cubicBezTo>
                <a:cubicBezTo>
                  <a:pt x="682689" y="287694"/>
                  <a:pt x="713792" y="270588"/>
                  <a:pt x="746449" y="270588"/>
                </a:cubicBezTo>
                <a:cubicBezTo>
                  <a:pt x="779106" y="270588"/>
                  <a:pt x="819539" y="320351"/>
                  <a:pt x="839755" y="298580"/>
                </a:cubicBezTo>
                <a:cubicBezTo>
                  <a:pt x="859971" y="276809"/>
                  <a:pt x="849086" y="183502"/>
                  <a:pt x="867747" y="139959"/>
                </a:cubicBezTo>
                <a:cubicBezTo>
                  <a:pt x="886408" y="96416"/>
                  <a:pt x="919065" y="60650"/>
                  <a:pt x="951722" y="37323"/>
                </a:cubicBezTo>
                <a:cubicBezTo>
                  <a:pt x="984379" y="13997"/>
                  <a:pt x="1024034" y="6998"/>
                  <a:pt x="106369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36" name="Полилиния 335"/>
          <p:cNvSpPr/>
          <p:nvPr/>
        </p:nvSpPr>
        <p:spPr>
          <a:xfrm>
            <a:off x="6746033" y="5122506"/>
            <a:ext cx="307910" cy="46653"/>
          </a:xfrm>
          <a:custGeom>
            <a:avLst/>
            <a:gdLst>
              <a:gd name="connsiteX0" fmla="*/ 0 w 307910"/>
              <a:gd name="connsiteY0" fmla="*/ 27992 h 46653"/>
              <a:gd name="connsiteX1" fmla="*/ 102636 w 307910"/>
              <a:gd name="connsiteY1" fmla="*/ 46653 h 46653"/>
              <a:gd name="connsiteX2" fmla="*/ 251926 w 307910"/>
              <a:gd name="connsiteY2" fmla="*/ 27992 h 46653"/>
              <a:gd name="connsiteX3" fmla="*/ 307910 w 307910"/>
              <a:gd name="connsiteY3" fmla="*/ 0 h 46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910" h="46653">
                <a:moveTo>
                  <a:pt x="0" y="27992"/>
                </a:moveTo>
                <a:cubicBezTo>
                  <a:pt x="30324" y="37322"/>
                  <a:pt x="60648" y="46653"/>
                  <a:pt x="102636" y="46653"/>
                </a:cubicBezTo>
                <a:cubicBezTo>
                  <a:pt x="144624" y="46653"/>
                  <a:pt x="217714" y="35767"/>
                  <a:pt x="251926" y="27992"/>
                </a:cubicBezTo>
                <a:cubicBezTo>
                  <a:pt x="286138" y="20217"/>
                  <a:pt x="297024" y="10108"/>
                  <a:pt x="307910" y="0"/>
                </a:cubicBezTo>
              </a:path>
            </a:pathLst>
          </a:cu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37" name="Полилиния 336"/>
          <p:cNvSpPr/>
          <p:nvPr/>
        </p:nvSpPr>
        <p:spPr>
          <a:xfrm>
            <a:off x="6727371" y="5178490"/>
            <a:ext cx="298580" cy="27992"/>
          </a:xfrm>
          <a:custGeom>
            <a:avLst/>
            <a:gdLst>
              <a:gd name="connsiteX0" fmla="*/ 0 w 298580"/>
              <a:gd name="connsiteY0" fmla="*/ 0 h 27992"/>
              <a:gd name="connsiteX1" fmla="*/ 130629 w 298580"/>
              <a:gd name="connsiteY1" fmla="*/ 27992 h 27992"/>
              <a:gd name="connsiteX2" fmla="*/ 298580 w 298580"/>
              <a:gd name="connsiteY2" fmla="*/ 0 h 27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8580" h="27992">
                <a:moveTo>
                  <a:pt x="0" y="0"/>
                </a:moveTo>
                <a:cubicBezTo>
                  <a:pt x="40433" y="13996"/>
                  <a:pt x="80866" y="27992"/>
                  <a:pt x="130629" y="27992"/>
                </a:cubicBezTo>
                <a:cubicBezTo>
                  <a:pt x="180392" y="27992"/>
                  <a:pt x="239486" y="13996"/>
                  <a:pt x="298580" y="0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03" name="AutoShape 20"/>
          <p:cNvSpPr>
            <a:spLocks noChangeArrowheads="1"/>
          </p:cNvSpPr>
          <p:nvPr/>
        </p:nvSpPr>
        <p:spPr bwMode="auto">
          <a:xfrm>
            <a:off x="5214942" y="2214554"/>
            <a:ext cx="263741" cy="254053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47" name="Полилиния 346"/>
          <p:cNvSpPr/>
          <p:nvPr/>
        </p:nvSpPr>
        <p:spPr>
          <a:xfrm>
            <a:off x="2416629" y="2258008"/>
            <a:ext cx="153954" cy="298580"/>
          </a:xfrm>
          <a:custGeom>
            <a:avLst/>
            <a:gdLst>
              <a:gd name="connsiteX0" fmla="*/ 0 w 153954"/>
              <a:gd name="connsiteY0" fmla="*/ 0 h 298580"/>
              <a:gd name="connsiteX1" fmla="*/ 130628 w 153954"/>
              <a:gd name="connsiteY1" fmla="*/ 158621 h 298580"/>
              <a:gd name="connsiteX2" fmla="*/ 139959 w 153954"/>
              <a:gd name="connsiteY2" fmla="*/ 298580 h 298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954" h="298580">
                <a:moveTo>
                  <a:pt x="0" y="0"/>
                </a:moveTo>
                <a:cubicBezTo>
                  <a:pt x="53651" y="54429"/>
                  <a:pt x="107302" y="108858"/>
                  <a:pt x="130628" y="158621"/>
                </a:cubicBezTo>
                <a:cubicBezTo>
                  <a:pt x="153954" y="208384"/>
                  <a:pt x="146956" y="253482"/>
                  <a:pt x="139959" y="298580"/>
                </a:cubicBezTo>
              </a:path>
            </a:pathLst>
          </a:custGeom>
          <a:ln w="152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8" name="Полилиния 347"/>
          <p:cNvSpPr/>
          <p:nvPr/>
        </p:nvSpPr>
        <p:spPr>
          <a:xfrm>
            <a:off x="2416629" y="2248678"/>
            <a:ext cx="139959" cy="289249"/>
          </a:xfrm>
          <a:custGeom>
            <a:avLst/>
            <a:gdLst>
              <a:gd name="connsiteX0" fmla="*/ 0 w 139959"/>
              <a:gd name="connsiteY0" fmla="*/ 0 h 289249"/>
              <a:gd name="connsiteX1" fmla="*/ 111967 w 139959"/>
              <a:gd name="connsiteY1" fmla="*/ 121298 h 289249"/>
              <a:gd name="connsiteX2" fmla="*/ 139959 w 139959"/>
              <a:gd name="connsiteY2" fmla="*/ 289249 h 28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9959" h="289249">
                <a:moveTo>
                  <a:pt x="0" y="0"/>
                </a:moveTo>
                <a:cubicBezTo>
                  <a:pt x="44320" y="36545"/>
                  <a:pt x="88641" y="73090"/>
                  <a:pt x="111967" y="121298"/>
                </a:cubicBezTo>
                <a:cubicBezTo>
                  <a:pt x="135293" y="169506"/>
                  <a:pt x="137626" y="229377"/>
                  <a:pt x="139959" y="289249"/>
                </a:cubicBezTo>
              </a:path>
            </a:pathLst>
          </a:custGeom>
          <a:noFill/>
          <a:ln w="6350">
            <a:solidFill>
              <a:schemeClr val="bg1"/>
            </a:solidFill>
            <a:prstDash val="dash"/>
            <a:round/>
            <a:headEnd/>
            <a:tailEnd/>
          </a:ln>
        </p:spPr>
        <p:txBody>
          <a:bodyPr lIns="21577" tIns="10789" rIns="21577" bIns="10789" anchor="ctr"/>
          <a:lstStyle/>
          <a:p>
            <a:endParaRPr lang="ru-RU"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230" name="AutoShape 20"/>
          <p:cNvSpPr>
            <a:spLocks noChangeArrowheads="1"/>
          </p:cNvSpPr>
          <p:nvPr/>
        </p:nvSpPr>
        <p:spPr bwMode="auto">
          <a:xfrm>
            <a:off x="2456853" y="2428868"/>
            <a:ext cx="186321" cy="214315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51" name="Пятиугольник 350"/>
          <p:cNvSpPr/>
          <p:nvPr/>
        </p:nvSpPr>
        <p:spPr>
          <a:xfrm>
            <a:off x="82864" y="37362"/>
            <a:ext cx="7729496" cy="425356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Impact" pitchFamily="34" charset="0"/>
              </a:rPr>
              <a:t>1. </a:t>
            </a:r>
            <a:r>
              <a:rPr lang="ru-RU" sz="1600" u="sng" dirty="0" smtClean="0">
                <a:solidFill>
                  <a:srgbClr val="FFC000"/>
                </a:solidFill>
                <a:latin typeface="Impact" pitchFamily="34" charset="0"/>
              </a:rPr>
              <a:t>«</a:t>
            </a:r>
            <a:r>
              <a:rPr lang="en-US" sz="1600" u="sng" dirty="0" smtClean="0">
                <a:solidFill>
                  <a:srgbClr val="FFC000"/>
                </a:solidFill>
                <a:latin typeface="Impact" pitchFamily="34" charset="0"/>
              </a:rPr>
              <a:t>Western Europe</a:t>
            </a:r>
            <a:r>
              <a:rPr lang="ru-RU" sz="1600" u="sng" dirty="0" smtClean="0">
                <a:solidFill>
                  <a:srgbClr val="FFC000"/>
                </a:solidFill>
                <a:latin typeface="Impact" pitchFamily="34" charset="0"/>
              </a:rPr>
              <a:t> – </a:t>
            </a:r>
            <a:r>
              <a:rPr lang="en-US" sz="1600" u="sng" dirty="0" smtClean="0">
                <a:solidFill>
                  <a:srgbClr val="FFC000"/>
                </a:solidFill>
                <a:latin typeface="Impact" pitchFamily="34" charset="0"/>
              </a:rPr>
              <a:t>Western China</a:t>
            </a:r>
            <a:r>
              <a:rPr lang="ru-RU" sz="1600" u="sng" dirty="0" smtClean="0">
                <a:solidFill>
                  <a:srgbClr val="FFC000"/>
                </a:solidFill>
                <a:latin typeface="Impact" pitchFamily="34" charset="0"/>
              </a:rPr>
              <a:t>»</a:t>
            </a:r>
            <a:r>
              <a:rPr lang="ru-RU" sz="1600" dirty="0" smtClean="0">
                <a:latin typeface="Impact" pitchFamily="34" charset="0"/>
              </a:rPr>
              <a:t> </a:t>
            </a:r>
            <a:r>
              <a:rPr lang="ru-RU" sz="2000" dirty="0" smtClean="0">
                <a:latin typeface="Impact" pitchFamily="34" charset="0"/>
              </a:rPr>
              <a:t>/</a:t>
            </a:r>
            <a:r>
              <a:rPr lang="ru-RU" sz="1600" dirty="0" smtClean="0">
                <a:latin typeface="Impact" pitchFamily="34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Impact" pitchFamily="34" charset="0"/>
              </a:rPr>
              <a:t>2.</a:t>
            </a:r>
            <a:r>
              <a:rPr lang="ru-RU" sz="1600" dirty="0" smtClean="0">
                <a:latin typeface="Impact" pitchFamily="34" charset="0"/>
              </a:rPr>
              <a:t> 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CENTER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-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SOUTH,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 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CENTER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-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WEST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 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AND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 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CENTER</a:t>
            </a:r>
            <a:r>
              <a:rPr lang="ru-RU" sz="1600" u="sng" dirty="0" smtClean="0">
                <a:solidFill>
                  <a:srgbClr val="FFFF00"/>
                </a:solidFill>
                <a:latin typeface="Impact" pitchFamily="34" charset="0"/>
              </a:rPr>
              <a:t>-</a:t>
            </a:r>
            <a:r>
              <a:rPr lang="en-US" sz="1600" u="sng" dirty="0" smtClean="0">
                <a:solidFill>
                  <a:srgbClr val="FFFF00"/>
                </a:solidFill>
                <a:latin typeface="Impact" pitchFamily="34" charset="0"/>
              </a:rPr>
              <a:t>EAST</a:t>
            </a:r>
            <a:endParaRPr lang="ru-RU" sz="1600" u="sng" dirty="0" smtClean="0">
              <a:solidFill>
                <a:srgbClr val="FFFF00"/>
              </a:solidFill>
              <a:latin typeface="Impact" pitchFamily="34" charset="0"/>
            </a:endParaRPr>
          </a:p>
        </p:txBody>
      </p:sp>
      <p:sp>
        <p:nvSpPr>
          <p:cNvPr id="379" name="Скругленный прямоугольник 71"/>
          <p:cNvSpPr>
            <a:spLocks noChangeArrowheads="1"/>
          </p:cNvSpPr>
          <p:nvPr/>
        </p:nvSpPr>
        <p:spPr bwMode="auto">
          <a:xfrm>
            <a:off x="1714480" y="2909221"/>
            <a:ext cx="943455" cy="23402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Impact" pitchFamily="34" charset="0"/>
                <a:cs typeface="Arial" pitchFamily="34" charset="0"/>
              </a:rPr>
              <a:t>Karabutak</a:t>
            </a:r>
            <a:endParaRPr lang="ru-RU" sz="1200" dirty="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380" name="Скругленный прямоугольник 71"/>
          <p:cNvSpPr>
            <a:spLocks noChangeArrowheads="1"/>
          </p:cNvSpPr>
          <p:nvPr/>
        </p:nvSpPr>
        <p:spPr bwMode="auto">
          <a:xfrm>
            <a:off x="2500298" y="4000504"/>
            <a:ext cx="943455" cy="23402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Impact" pitchFamily="34" charset="0"/>
                <a:cs typeface="Arial" pitchFamily="34" charset="0"/>
              </a:rPr>
              <a:t>Aralsk</a:t>
            </a:r>
            <a:endParaRPr lang="ru-RU" sz="1200" dirty="0">
              <a:solidFill>
                <a:prstClr val="black">
                  <a:lumMod val="75000"/>
                  <a:lumOff val="25000"/>
                </a:prstClr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381" name="AutoShape 20"/>
          <p:cNvSpPr>
            <a:spLocks noChangeArrowheads="1"/>
          </p:cNvSpPr>
          <p:nvPr/>
        </p:nvSpPr>
        <p:spPr bwMode="auto">
          <a:xfrm>
            <a:off x="2714612" y="2786058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382" name="AutoShape 20"/>
          <p:cNvSpPr>
            <a:spLocks noChangeArrowheads="1"/>
          </p:cNvSpPr>
          <p:nvPr/>
        </p:nvSpPr>
        <p:spPr bwMode="auto">
          <a:xfrm>
            <a:off x="3400213" y="3804852"/>
            <a:ext cx="190317" cy="170579"/>
          </a:xfrm>
          <a:prstGeom prst="flowChartConnector">
            <a:avLst/>
          </a:prstGeom>
          <a:solidFill>
            <a:srgbClr val="C00000"/>
          </a:solidFill>
          <a:ln w="1905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</p:spPr>
        <p:txBody>
          <a:bodyPr lIns="91396" tIns="45700" rIns="91396" bIns="457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cxnSp>
        <p:nvCxnSpPr>
          <p:cNvPr id="120" name="Прямая со стрелкой 119"/>
          <p:cNvCxnSpPr>
            <a:stCxn id="155" idx="0"/>
          </p:cNvCxnSpPr>
          <p:nvPr/>
        </p:nvCxnSpPr>
        <p:spPr>
          <a:xfrm flipH="1" flipV="1">
            <a:off x="2339752" y="3933056"/>
            <a:ext cx="360040" cy="1080120"/>
          </a:xfrm>
          <a:prstGeom prst="straightConnector1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>
            <a:stCxn id="146" idx="1"/>
          </p:cNvCxnSpPr>
          <p:nvPr/>
        </p:nvCxnSpPr>
        <p:spPr>
          <a:xfrm flipH="1">
            <a:off x="6516216" y="3525861"/>
            <a:ext cx="648072" cy="168869"/>
          </a:xfrm>
          <a:prstGeom prst="straightConnector1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>
            <a:stCxn id="137" idx="1"/>
          </p:cNvCxnSpPr>
          <p:nvPr/>
        </p:nvCxnSpPr>
        <p:spPr>
          <a:xfrm flipH="1">
            <a:off x="5905950" y="952317"/>
            <a:ext cx="984106" cy="991670"/>
          </a:xfrm>
          <a:prstGeom prst="straightConnector1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 стрелкой 122"/>
          <p:cNvCxnSpPr>
            <a:stCxn id="164" idx="2"/>
          </p:cNvCxnSpPr>
          <p:nvPr/>
        </p:nvCxnSpPr>
        <p:spPr>
          <a:xfrm>
            <a:off x="1619672" y="1412776"/>
            <a:ext cx="792088" cy="792088"/>
          </a:xfrm>
          <a:prstGeom prst="straightConnector1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Прямоугольник 141"/>
          <p:cNvSpPr/>
          <p:nvPr/>
        </p:nvSpPr>
        <p:spPr>
          <a:xfrm>
            <a:off x="5757581" y="5933027"/>
            <a:ext cx="3384376" cy="928670"/>
          </a:xfrm>
          <a:prstGeom prst="rect">
            <a:avLst/>
          </a:prstGeom>
          <a:solidFill>
            <a:schemeClr val="bg1">
              <a:lumMod val="8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u="sng" dirty="0" smtClean="0">
                <a:solidFill>
                  <a:srgbClr val="C00000"/>
                </a:solidFill>
                <a:latin typeface="Impact" pitchFamily="34" charset="0"/>
              </a:rPr>
              <a:t>Ending</a:t>
            </a:r>
            <a:r>
              <a:rPr lang="ru-RU" sz="1200" u="sng" dirty="0" smtClean="0">
                <a:solidFill>
                  <a:srgbClr val="C00000"/>
                </a:solidFill>
                <a:latin typeface="Impact" pitchFamily="34" charset="0"/>
              </a:rPr>
              <a:t>:</a:t>
            </a: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Western Europe – Western China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– 2015 </a:t>
            </a: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CENTER-SOUTH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 – 2019 </a:t>
            </a: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CENTER-WEST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  - 2020 </a:t>
            </a:r>
          </a:p>
          <a:p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CENTER-EAST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itchFamily="34" charset="0"/>
              </a:rPr>
              <a:t> – 2020 </a:t>
            </a:r>
          </a:p>
        </p:txBody>
      </p:sp>
      <p:grpSp>
        <p:nvGrpSpPr>
          <p:cNvPr id="3" name="Группа 143"/>
          <p:cNvGrpSpPr/>
          <p:nvPr/>
        </p:nvGrpSpPr>
        <p:grpSpPr>
          <a:xfrm>
            <a:off x="6876256" y="548680"/>
            <a:ext cx="2425469" cy="843906"/>
            <a:chOff x="1363563" y="708656"/>
            <a:chExt cx="2245600" cy="843906"/>
          </a:xfrm>
        </p:grpSpPr>
        <p:sp>
          <p:nvSpPr>
            <p:cNvPr id="137" name="Пятиугольник 136"/>
            <p:cNvSpPr/>
            <p:nvPr/>
          </p:nvSpPr>
          <p:spPr bwMode="auto">
            <a:xfrm>
              <a:off x="1376340" y="708656"/>
              <a:ext cx="2052652" cy="807273"/>
            </a:xfrm>
            <a:prstGeom prst="homePlate">
              <a:avLst>
                <a:gd name="adj" fmla="val 0"/>
              </a:avLst>
            </a:prstGeom>
            <a:solidFill>
              <a:srgbClr val="FFFF00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t" anchorCtr="0"/>
            <a:lstStyle/>
            <a:p>
              <a:pPr algn="ctr"/>
              <a:r>
                <a:rPr lang="en-US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Astana</a:t>
              </a:r>
              <a:r>
                <a:rPr lang="ru-RU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</a:t>
              </a:r>
              <a:r>
                <a:rPr lang="en-US" altLang="ru-RU" sz="1100" u="sng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Ust’-Kamenogorsk</a:t>
              </a:r>
              <a:endParaRPr lang="en-US" altLang="ru-RU" sz="11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pPr algn="ctr"/>
              <a:endPara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39" name="Прямоугольник 236"/>
            <p:cNvSpPr>
              <a:spLocks noChangeArrowheads="1"/>
            </p:cNvSpPr>
            <p:nvPr/>
          </p:nvSpPr>
          <p:spPr bwMode="auto">
            <a:xfrm>
              <a:off x="2276459" y="928670"/>
              <a:ext cx="39507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948</a:t>
              </a:r>
              <a:endPara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40" name="Прямоугольник 139"/>
            <p:cNvSpPr/>
            <p:nvPr/>
          </p:nvSpPr>
          <p:spPr bwMode="auto">
            <a:xfrm>
              <a:off x="2589332" y="930379"/>
              <a:ext cx="1019831" cy="26161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,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including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: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41" name="Прямоугольник 140"/>
            <p:cNvSpPr/>
            <p:nvPr/>
          </p:nvSpPr>
          <p:spPr bwMode="auto">
            <a:xfrm>
              <a:off x="1363563" y="932378"/>
              <a:ext cx="845103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2013-2020 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43" name="Прямоугольник 142"/>
            <p:cNvSpPr/>
            <p:nvPr/>
          </p:nvSpPr>
          <p:spPr bwMode="auto">
            <a:xfrm>
              <a:off x="1533574" y="1121675"/>
              <a:ext cx="1877717" cy="43088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–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 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427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I –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 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521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</p:grpSp>
      <p:grpSp>
        <p:nvGrpSpPr>
          <p:cNvPr id="4" name="Группа 144"/>
          <p:cNvGrpSpPr/>
          <p:nvPr/>
        </p:nvGrpSpPr>
        <p:grpSpPr>
          <a:xfrm>
            <a:off x="7164288" y="3212976"/>
            <a:ext cx="2037551" cy="625770"/>
            <a:chOff x="1376340" y="681585"/>
            <a:chExt cx="2037551" cy="759582"/>
          </a:xfrm>
        </p:grpSpPr>
        <p:sp>
          <p:nvSpPr>
            <p:cNvPr id="146" name="Пятиугольник 145"/>
            <p:cNvSpPr/>
            <p:nvPr/>
          </p:nvSpPr>
          <p:spPr bwMode="auto">
            <a:xfrm>
              <a:off x="1376340" y="681585"/>
              <a:ext cx="1979712" cy="759582"/>
            </a:xfrm>
            <a:prstGeom prst="homePlate">
              <a:avLst>
                <a:gd name="adj" fmla="val 0"/>
              </a:avLst>
            </a:prstGeom>
            <a:solidFill>
              <a:srgbClr val="FFFF00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t" anchorCtr="0"/>
            <a:lstStyle/>
            <a:p>
              <a:pPr algn="ctr"/>
              <a:r>
                <a:rPr lang="en-US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Astana</a:t>
              </a:r>
              <a:r>
                <a:rPr lang="ru-RU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</a:t>
              </a:r>
              <a:r>
                <a:rPr lang="en-US" altLang="ru-RU" sz="1100" u="sng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Almaty</a:t>
              </a:r>
              <a:endPara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 bwMode="auto">
            <a:xfrm>
              <a:off x="1859193" y="932378"/>
              <a:ext cx="805029" cy="31755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2013-2019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51" name="Прямоугольник 150"/>
            <p:cNvSpPr/>
            <p:nvPr/>
          </p:nvSpPr>
          <p:spPr bwMode="auto">
            <a:xfrm>
              <a:off x="1395390" y="1121675"/>
              <a:ext cx="2018501" cy="31755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–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 - 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1 318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</p:grpSp>
      <p:grpSp>
        <p:nvGrpSpPr>
          <p:cNvPr id="5" name="Группа 153"/>
          <p:cNvGrpSpPr/>
          <p:nvPr/>
        </p:nvGrpSpPr>
        <p:grpSpPr>
          <a:xfrm>
            <a:off x="1475656" y="5013176"/>
            <a:ext cx="2497001" cy="864096"/>
            <a:chOff x="1376340" y="708656"/>
            <a:chExt cx="2196352" cy="864096"/>
          </a:xfrm>
        </p:grpSpPr>
        <p:sp>
          <p:nvSpPr>
            <p:cNvPr id="155" name="Пятиугольник 154"/>
            <p:cNvSpPr/>
            <p:nvPr/>
          </p:nvSpPr>
          <p:spPr bwMode="auto">
            <a:xfrm>
              <a:off x="1376340" y="708656"/>
              <a:ext cx="2153490" cy="864096"/>
            </a:xfrm>
            <a:prstGeom prst="homePlate">
              <a:avLst>
                <a:gd name="adj" fmla="val 0"/>
              </a:avLst>
            </a:prstGeom>
            <a:solidFill>
              <a:srgbClr val="FFFF00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t" anchorCtr="0"/>
            <a:lstStyle/>
            <a:p>
              <a:pPr algn="ctr"/>
              <a:r>
                <a:rPr lang="en-US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Astana</a:t>
              </a:r>
              <a:r>
                <a:rPr lang="ru-RU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</a:t>
              </a:r>
              <a:r>
                <a:rPr lang="en-US" altLang="ru-RU" sz="1100" u="sng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Aktau</a:t>
              </a:r>
              <a:r>
                <a:rPr lang="en-US" altLang="ru-RU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</a:t>
              </a:r>
              <a:r>
                <a:rPr lang="kk-KZ" alt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(</a:t>
              </a:r>
              <a:r>
                <a:rPr lang="en-US" alt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construction of new </a:t>
              </a:r>
              <a:r>
                <a:rPr lang="kk-KZ" alt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500 </a:t>
              </a:r>
              <a:r>
                <a:rPr lang="en-US" alt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r>
                <a:rPr lang="kk-KZ" alt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)</a:t>
              </a:r>
              <a:endPara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pPr algn="ctr"/>
              <a:endParaRPr lang="ru-RU" alt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pPr algn="ctr"/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</a:t>
              </a:r>
              <a:endPara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57" name="Прямоугольник 236"/>
            <p:cNvSpPr>
              <a:spLocks noChangeArrowheads="1"/>
            </p:cNvSpPr>
            <p:nvPr/>
          </p:nvSpPr>
          <p:spPr bwMode="auto">
            <a:xfrm>
              <a:off x="2276459" y="928670"/>
              <a:ext cx="43044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1 527</a:t>
              </a:r>
              <a:endPara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58" name="Прямоугольник 157"/>
            <p:cNvSpPr/>
            <p:nvPr/>
          </p:nvSpPr>
          <p:spPr bwMode="auto">
            <a:xfrm>
              <a:off x="2675653" y="939904"/>
              <a:ext cx="897039" cy="261610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,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including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: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59" name="Прямоугольник 158"/>
            <p:cNvSpPr/>
            <p:nvPr/>
          </p:nvSpPr>
          <p:spPr bwMode="auto">
            <a:xfrm>
              <a:off x="1486771" y="932378"/>
              <a:ext cx="743349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2013-2020 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60" name="Прямоугольник 159"/>
            <p:cNvSpPr/>
            <p:nvPr/>
          </p:nvSpPr>
          <p:spPr bwMode="auto">
            <a:xfrm>
              <a:off x="1551512" y="1121675"/>
              <a:ext cx="1833276" cy="43088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–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 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140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I -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 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– 1 387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</p:grpSp>
      <p:grpSp>
        <p:nvGrpSpPr>
          <p:cNvPr id="6" name="Группа 162"/>
          <p:cNvGrpSpPr/>
          <p:nvPr/>
        </p:nvGrpSpPr>
        <p:grpSpPr>
          <a:xfrm>
            <a:off x="107504" y="548680"/>
            <a:ext cx="3024336" cy="864096"/>
            <a:chOff x="1456560" y="708656"/>
            <a:chExt cx="1940668" cy="864096"/>
          </a:xfrm>
        </p:grpSpPr>
        <p:sp>
          <p:nvSpPr>
            <p:cNvPr id="164" name="Пятиугольник 163"/>
            <p:cNvSpPr/>
            <p:nvPr/>
          </p:nvSpPr>
          <p:spPr bwMode="auto">
            <a:xfrm>
              <a:off x="1456560" y="708656"/>
              <a:ext cx="1940668" cy="864096"/>
            </a:xfrm>
            <a:prstGeom prst="homePlate">
              <a:avLst>
                <a:gd name="adj" fmla="val 0"/>
              </a:avLst>
            </a:prstGeom>
            <a:solidFill>
              <a:srgbClr val="FF9900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t" anchorCtr="0"/>
            <a:lstStyle/>
            <a:p>
              <a:pPr algn="ctr"/>
              <a:r>
                <a:rPr lang="en-US" sz="1100" u="sng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Western Europe – Western China</a:t>
              </a:r>
              <a:endPara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66" name="Прямоугольник 236"/>
            <p:cNvSpPr>
              <a:spLocks noChangeArrowheads="1"/>
            </p:cNvSpPr>
            <p:nvPr/>
          </p:nvSpPr>
          <p:spPr bwMode="auto">
            <a:xfrm>
              <a:off x="2376068" y="928670"/>
              <a:ext cx="40994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r>
                <a:rPr lang="ru-RU" sz="12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2 452</a:t>
              </a:r>
              <a:endPara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67" name="Прямоугольник 166"/>
            <p:cNvSpPr/>
            <p:nvPr/>
          </p:nvSpPr>
          <p:spPr bwMode="auto">
            <a:xfrm>
              <a:off x="2688941" y="845741"/>
              <a:ext cx="651623" cy="43088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,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including</a:t>
              </a:r>
              <a:r>
                <a:rPr lang="kk-KZ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:</a:t>
              </a:r>
              <a:endPara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68" name="Прямоугольник 167"/>
            <p:cNvSpPr/>
            <p:nvPr/>
          </p:nvSpPr>
          <p:spPr bwMode="auto">
            <a:xfrm>
              <a:off x="1463171" y="932378"/>
              <a:ext cx="655082" cy="2616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2009-2015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  <p:sp>
          <p:nvSpPr>
            <p:cNvPr id="169" name="Прямоугольник 168"/>
            <p:cNvSpPr/>
            <p:nvPr/>
          </p:nvSpPr>
          <p:spPr bwMode="auto">
            <a:xfrm>
              <a:off x="1608365" y="1127760"/>
              <a:ext cx="1435861" cy="43088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–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– 1 391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  <a:p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I I -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technical category</a:t>
              </a:r>
              <a:r>
                <a:rPr lang="ru-RU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 – 1 061 </a:t>
              </a:r>
              <a:r>
                <a:rPr lang="en-US" altLang="ru-RU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rPr>
                <a:t>km</a:t>
              </a:r>
              <a:endParaRPr lang="ru-RU" alt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</a:endParaRPr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578107" y="6002006"/>
            <a:ext cx="3345822" cy="8002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By 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2020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the volume of automobile transport transportations  will increase by 1,5 times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(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1,56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mln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. tons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).</a:t>
            </a:r>
          </a:p>
        </p:txBody>
      </p:sp>
      <p:sp>
        <p:nvSpPr>
          <p:cNvPr id="106" name="Овал 105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5</a:t>
            </a:r>
            <a:endParaRPr lang="ru-RU" sz="1400" dirty="0">
              <a:latin typeface="Impact" pitchFamily="34" charset="0"/>
            </a:endParaRPr>
          </a:p>
        </p:txBody>
      </p:sp>
      <p:pic>
        <p:nvPicPr>
          <p:cNvPr id="107" name="Picture 20" descr="C:\Documents and Settings\Admin\Мои документы\For prezentations\arrows\tick_6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267" y="6010137"/>
            <a:ext cx="28416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51215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Скругленный прямоугольник 12"/>
          <p:cNvSpPr>
            <a:spLocks noChangeArrowheads="1"/>
          </p:cNvSpPr>
          <p:nvPr/>
        </p:nvSpPr>
        <p:spPr bwMode="auto">
          <a:xfrm>
            <a:off x="304800" y="906463"/>
            <a:ext cx="3200400" cy="5646737"/>
          </a:xfrm>
          <a:prstGeom prst="roundRect">
            <a:avLst>
              <a:gd name="adj" fmla="val 13190"/>
            </a:avLst>
          </a:prstGeom>
          <a:noFill/>
          <a:ln w="6350">
            <a:noFill/>
            <a:round/>
            <a:headEnd/>
            <a:tailEnd/>
          </a:ln>
        </p:spPr>
        <p:txBody>
          <a:bodyPr lIns="36000" tIns="36000" rIns="36000" bIns="36000"/>
          <a:lstStyle/>
          <a:p>
            <a:pPr marL="180975" indent="-180975" algn="ctr" defTabSz="876300" fontAlgn="auto">
              <a:spcBef>
                <a:spcPts val="0"/>
              </a:spcBef>
              <a:spcAft>
                <a:spcPts val="1200"/>
              </a:spcAft>
              <a:defRPr/>
            </a:pPr>
            <a:endParaRPr lang="ru-RU" sz="1050" dirty="0">
              <a:solidFill>
                <a:srgbClr val="002060"/>
              </a:solidFill>
              <a:latin typeface="+mn-lt"/>
              <a:ea typeface="MS PGothic" pitchFamily="34" charset="-128"/>
              <a:cs typeface="Arial" charset="0"/>
            </a:endParaRPr>
          </a:p>
          <a:p>
            <a:pPr marL="180975" indent="-180975" defTabSz="876300" fontAlgn="auto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ü"/>
              <a:defRPr/>
            </a:pPr>
            <a:endParaRPr lang="ru-RU" sz="1050" dirty="0">
              <a:solidFill>
                <a:srgbClr val="002060"/>
              </a:solidFill>
              <a:latin typeface="+mn-lt"/>
              <a:ea typeface="MS PGothic" pitchFamily="34" charset="-128"/>
              <a:cs typeface="Arial" charset="0"/>
            </a:endParaRPr>
          </a:p>
          <a:p>
            <a:pPr marL="180975" indent="-180975" defTabSz="876300" fontAlgn="auto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ü"/>
              <a:defRPr/>
            </a:pPr>
            <a:endParaRPr lang="ru-RU" sz="1050" dirty="0">
              <a:solidFill>
                <a:srgbClr val="002060"/>
              </a:solidFill>
              <a:latin typeface="+mn-lt"/>
              <a:ea typeface="MS PGothic" pitchFamily="34" charset="-128"/>
              <a:cs typeface="Arial" charset="0"/>
            </a:endParaRPr>
          </a:p>
          <a:p>
            <a:pPr marL="180975" indent="-180975" defTabSz="876300" fontAlgn="auto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ü"/>
              <a:defRPr/>
            </a:pPr>
            <a:endParaRPr lang="ru-RU" sz="1050" dirty="0">
              <a:solidFill>
                <a:srgbClr val="002060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4100" name="Rectangle 10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142844" y="643197"/>
            <a:ext cx="3763945" cy="546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endParaRPr lang="ru-RU" altLang="ru-RU" sz="16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endParaRPr lang="ru-RU" altLang="ru-RU" sz="16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Length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65,5</a:t>
            </a:r>
            <a:r>
              <a:rPr lang="ru-RU" altLang="ru-RU" sz="1400" dirty="0">
                <a:solidFill>
                  <a:schemeClr val="accent5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km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;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Technical category </a:t>
            </a:r>
            <a:r>
              <a:rPr lang="ru-RU" altLang="ru-RU" sz="16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–  </a:t>
            </a:r>
            <a:r>
              <a:rPr lang="en-US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I</a:t>
            </a:r>
            <a:r>
              <a:rPr lang="ru-RU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а</a:t>
            </a:r>
            <a:r>
              <a:rPr lang="en-US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with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4/6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band movement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;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Expected intensity </a:t>
            </a:r>
            <a:r>
              <a:rPr lang="ru-RU" altLang="ru-RU" sz="14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–  </a:t>
            </a:r>
            <a:r>
              <a:rPr lang="ru-RU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38 628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vehicle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/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day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Estimated speed of movement 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600" dirty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150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km/hour</a:t>
            </a:r>
            <a:endParaRPr lang="ru-RU" sz="1400" dirty="0">
              <a:latin typeface="Arial" charset="0"/>
              <a:ea typeface="MS PGothic" pitchFamily="34" charset="-128"/>
              <a:cs typeface="+mn-cs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As a part of the project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: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traffic intersection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- 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8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bridg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21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platform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-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2 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overpass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18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water throughput pip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-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168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crossings with highway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</a:t>
            </a:r>
            <a:r>
              <a:rPr lang="ru-RU" altLang="ru-RU" sz="1400" b="1" dirty="0" smtClean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19 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crossings with railway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- 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2 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power lin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78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flattening of water utiliti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2</a:t>
            </a:r>
            <a:r>
              <a:rPr lang="ru-RU" altLang="ru-RU" sz="1400" b="1" dirty="0">
                <a:solidFill>
                  <a:schemeClr val="accent5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км</a:t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communication lin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47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gas pipelin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10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water supply system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20 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sewerag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3 </a:t>
            </a:r>
            <a: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/>
            </a:r>
            <a:br>
              <a:rPr lang="ru-RU" alt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</a:br>
            <a:r>
              <a:rPr lang="en-US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slime pipelines </a:t>
            </a:r>
            <a:r>
              <a:rPr lang="ru-RU" alt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b="1" dirty="0">
                <a:solidFill>
                  <a:srgbClr val="336600"/>
                </a:solidFill>
                <a:latin typeface="Calibri" pitchFamily="34" charset="0"/>
                <a:ea typeface="MS PGothic" pitchFamily="34" charset="-128"/>
                <a:cs typeface="Calibri" pitchFamily="34" charset="0"/>
              </a:rPr>
              <a:t>3 </a:t>
            </a:r>
          </a:p>
        </p:txBody>
      </p:sp>
      <p:sp>
        <p:nvSpPr>
          <p:cNvPr id="58" name="Пятиугольник 57"/>
          <p:cNvSpPr/>
          <p:nvPr/>
        </p:nvSpPr>
        <p:spPr>
          <a:xfrm>
            <a:off x="921364" y="692696"/>
            <a:ext cx="1944687" cy="288925"/>
          </a:xfrm>
          <a:prstGeom prst="homePlate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+mj-ea"/>
                <a:cs typeface="Calibri" pitchFamily="34" charset="0"/>
              </a:rPr>
              <a:t>Project parameters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924300" y="1484313"/>
            <a:ext cx="3024188" cy="2436812"/>
          </a:xfrm>
          <a:prstGeom prst="rect">
            <a:avLst/>
          </a:prstGeom>
          <a:noFill/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just" eaLnBrk="0" hangingPunct="0"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grpSp>
        <p:nvGrpSpPr>
          <p:cNvPr id="2" name="Группа 95"/>
          <p:cNvGrpSpPr/>
          <p:nvPr/>
        </p:nvGrpSpPr>
        <p:grpSpPr>
          <a:xfrm>
            <a:off x="3929058" y="642918"/>
            <a:ext cx="4968875" cy="4357718"/>
            <a:chOff x="3995738" y="1628775"/>
            <a:chExt cx="4968875" cy="3455988"/>
          </a:xfrm>
        </p:grpSpPr>
        <p:grpSp>
          <p:nvGrpSpPr>
            <p:cNvPr id="4" name="Группа 10"/>
            <p:cNvGrpSpPr>
              <a:grpSpLocks/>
            </p:cNvGrpSpPr>
            <p:nvPr/>
          </p:nvGrpSpPr>
          <p:grpSpPr bwMode="auto">
            <a:xfrm>
              <a:off x="4084638" y="1628775"/>
              <a:ext cx="4874522" cy="3409950"/>
              <a:chOff x="80963" y="455613"/>
              <a:chExt cx="9125220" cy="6383337"/>
            </a:xfrm>
          </p:grpSpPr>
          <p:pic>
            <p:nvPicPr>
              <p:cNvPr id="12" name="Picture 2" descr="Almaty1000"/>
              <p:cNvPicPr>
                <a:picLocks noChangeAspect="1" noChangeArrowheads="1"/>
              </p:cNvPicPr>
              <p:nvPr/>
            </p:nvPicPr>
            <p:blipFill>
              <a:blip r:embed="rId2" cstate="print">
                <a:lum bright="10000"/>
              </a:blip>
              <a:srcRect/>
              <a:stretch>
                <a:fillRect/>
              </a:stretch>
            </p:blipFill>
            <p:spPr bwMode="auto">
              <a:xfrm>
                <a:off x="80963" y="554038"/>
                <a:ext cx="8986837" cy="6284912"/>
              </a:xfrm>
              <a:prstGeom prst="rect">
                <a:avLst/>
              </a:prstGeom>
              <a:ln>
                <a:noFill/>
              </a:ln>
              <a:effectLst>
                <a:softEdge rad="112500"/>
              </a:effectLst>
            </p:spPr>
          </p:pic>
          <p:sp>
            <p:nvSpPr>
              <p:cNvPr id="13" name="Freeform 5"/>
              <p:cNvSpPr>
                <a:spLocks/>
              </p:cNvSpPr>
              <p:nvPr/>
            </p:nvSpPr>
            <p:spPr bwMode="auto">
              <a:xfrm>
                <a:off x="89878" y="5674021"/>
                <a:ext cx="2110005" cy="175335"/>
              </a:xfrm>
              <a:custGeom>
                <a:avLst/>
                <a:gdLst>
                  <a:gd name="T0" fmla="*/ 0 w 1330"/>
                  <a:gd name="T1" fmla="*/ 2147483647 h 109"/>
                  <a:gd name="T2" fmla="*/ 2147483647 w 1330"/>
                  <a:gd name="T3" fmla="*/ 2147483647 h 109"/>
                  <a:gd name="T4" fmla="*/ 2147483647 w 1330"/>
                  <a:gd name="T5" fmla="*/ 2147483647 h 109"/>
                  <a:gd name="T6" fmla="*/ 2147483647 w 1330"/>
                  <a:gd name="T7" fmla="*/ 2147483647 h 109"/>
                  <a:gd name="T8" fmla="*/ 2147483647 w 1330"/>
                  <a:gd name="T9" fmla="*/ 2147483647 h 109"/>
                  <a:gd name="T10" fmla="*/ 2147483647 w 1330"/>
                  <a:gd name="T11" fmla="*/ 2147483647 h 109"/>
                  <a:gd name="T12" fmla="*/ 2147483647 w 1330"/>
                  <a:gd name="T13" fmla="*/ 2147483647 h 109"/>
                  <a:gd name="T14" fmla="*/ 2147483647 w 1330"/>
                  <a:gd name="T15" fmla="*/ 2147483647 h 109"/>
                  <a:gd name="T16" fmla="*/ 2147483647 w 1330"/>
                  <a:gd name="T17" fmla="*/ 2147483647 h 109"/>
                  <a:gd name="T18" fmla="*/ 2147483647 w 1330"/>
                  <a:gd name="T19" fmla="*/ 2147483647 h 109"/>
                  <a:gd name="T20" fmla="*/ 2147483647 w 1330"/>
                  <a:gd name="T21" fmla="*/ 0 h 10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330"/>
                  <a:gd name="T34" fmla="*/ 0 h 109"/>
                  <a:gd name="T35" fmla="*/ 1330 w 1330"/>
                  <a:gd name="T36" fmla="*/ 109 h 10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330" h="109">
                    <a:moveTo>
                      <a:pt x="0" y="31"/>
                    </a:moveTo>
                    <a:lnTo>
                      <a:pt x="165" y="22"/>
                    </a:lnTo>
                    <a:lnTo>
                      <a:pt x="264" y="18"/>
                    </a:lnTo>
                    <a:lnTo>
                      <a:pt x="942" y="109"/>
                    </a:lnTo>
                    <a:lnTo>
                      <a:pt x="988" y="100"/>
                    </a:lnTo>
                    <a:lnTo>
                      <a:pt x="1056" y="91"/>
                    </a:lnTo>
                    <a:lnTo>
                      <a:pt x="1125" y="73"/>
                    </a:lnTo>
                    <a:lnTo>
                      <a:pt x="1194" y="48"/>
                    </a:lnTo>
                    <a:lnTo>
                      <a:pt x="1249" y="24"/>
                    </a:lnTo>
                    <a:lnTo>
                      <a:pt x="1296" y="7"/>
                    </a:lnTo>
                    <a:lnTo>
                      <a:pt x="1330" y="0"/>
                    </a:lnTo>
                  </a:path>
                </a:pathLst>
              </a:custGeom>
              <a:ln w="63500">
                <a:solidFill>
                  <a:srgbClr val="FF0000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10" name="Freeform 6"/>
              <p:cNvSpPr>
                <a:spLocks/>
              </p:cNvSpPr>
              <p:nvPr/>
            </p:nvSpPr>
            <p:spPr bwMode="auto">
              <a:xfrm>
                <a:off x="2693988" y="5500688"/>
                <a:ext cx="566737" cy="88900"/>
              </a:xfrm>
              <a:custGeom>
                <a:avLst/>
                <a:gdLst>
                  <a:gd name="T0" fmla="*/ 0 w 357"/>
                  <a:gd name="T1" fmla="*/ 2147483647 h 56"/>
                  <a:gd name="T2" fmla="*/ 2147483647 w 357"/>
                  <a:gd name="T3" fmla="*/ 2147483647 h 56"/>
                  <a:gd name="T4" fmla="*/ 2147483647 w 357"/>
                  <a:gd name="T5" fmla="*/ 2147483647 h 56"/>
                  <a:gd name="T6" fmla="*/ 2147483647 w 357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7"/>
                  <a:gd name="T13" fmla="*/ 0 h 56"/>
                  <a:gd name="T14" fmla="*/ 357 w 357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7" h="56">
                    <a:moveTo>
                      <a:pt x="0" y="56"/>
                    </a:moveTo>
                    <a:lnTo>
                      <a:pt x="112" y="38"/>
                    </a:lnTo>
                    <a:lnTo>
                      <a:pt x="226" y="18"/>
                    </a:lnTo>
                    <a:lnTo>
                      <a:pt x="357" y="0"/>
                    </a:ln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1" name="Freeform 18"/>
              <p:cNvSpPr>
                <a:spLocks/>
              </p:cNvSpPr>
              <p:nvPr/>
            </p:nvSpPr>
            <p:spPr bwMode="auto">
              <a:xfrm>
                <a:off x="3984625" y="2349500"/>
                <a:ext cx="898525" cy="323850"/>
              </a:xfrm>
              <a:custGeom>
                <a:avLst/>
                <a:gdLst>
                  <a:gd name="T0" fmla="*/ 0 w 566"/>
                  <a:gd name="T1" fmla="*/ 0 h 204"/>
                  <a:gd name="T2" fmla="*/ 2147483647 w 566"/>
                  <a:gd name="T3" fmla="*/ 2147483647 h 204"/>
                  <a:gd name="T4" fmla="*/ 2147483647 w 566"/>
                  <a:gd name="T5" fmla="*/ 2147483647 h 204"/>
                  <a:gd name="T6" fmla="*/ 2147483647 w 566"/>
                  <a:gd name="T7" fmla="*/ 2147483647 h 204"/>
                  <a:gd name="T8" fmla="*/ 2147483647 w 566"/>
                  <a:gd name="T9" fmla="*/ 2147483647 h 204"/>
                  <a:gd name="T10" fmla="*/ 2147483647 w 566"/>
                  <a:gd name="T11" fmla="*/ 2147483647 h 2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66"/>
                  <a:gd name="T19" fmla="*/ 0 h 204"/>
                  <a:gd name="T20" fmla="*/ 566 w 566"/>
                  <a:gd name="T21" fmla="*/ 204 h 2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66" h="204">
                    <a:moveTo>
                      <a:pt x="0" y="0"/>
                    </a:moveTo>
                    <a:lnTo>
                      <a:pt x="86" y="14"/>
                    </a:lnTo>
                    <a:lnTo>
                      <a:pt x="240" y="72"/>
                    </a:lnTo>
                    <a:lnTo>
                      <a:pt x="324" y="116"/>
                    </a:lnTo>
                    <a:lnTo>
                      <a:pt x="336" y="122"/>
                    </a:lnTo>
                    <a:lnTo>
                      <a:pt x="566" y="204"/>
                    </a:lnTo>
                  </a:path>
                </a:pathLst>
              </a:custGeom>
              <a:noFill/>
              <a:ln w="2286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2" name="Freeform 19"/>
              <p:cNvSpPr>
                <a:spLocks/>
              </p:cNvSpPr>
              <p:nvPr/>
            </p:nvSpPr>
            <p:spPr bwMode="auto">
              <a:xfrm>
                <a:off x="4559300" y="2411413"/>
                <a:ext cx="106363" cy="149225"/>
              </a:xfrm>
              <a:custGeom>
                <a:avLst/>
                <a:gdLst>
                  <a:gd name="T0" fmla="*/ 2147483647 w 67"/>
                  <a:gd name="T1" fmla="*/ 2147483647 h 94"/>
                  <a:gd name="T2" fmla="*/ 2147483647 w 67"/>
                  <a:gd name="T3" fmla="*/ 0 h 94"/>
                  <a:gd name="T4" fmla="*/ 2147483647 w 67"/>
                  <a:gd name="T5" fmla="*/ 2147483647 h 94"/>
                  <a:gd name="T6" fmla="*/ 2147483647 w 67"/>
                  <a:gd name="T7" fmla="*/ 2147483647 h 94"/>
                  <a:gd name="T8" fmla="*/ 0 w 67"/>
                  <a:gd name="T9" fmla="*/ 2147483647 h 94"/>
                  <a:gd name="T10" fmla="*/ 2147483647 w 67"/>
                  <a:gd name="T11" fmla="*/ 2147483647 h 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7"/>
                  <a:gd name="T19" fmla="*/ 0 h 94"/>
                  <a:gd name="T20" fmla="*/ 67 w 67"/>
                  <a:gd name="T21" fmla="*/ 94 h 9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7" h="94">
                    <a:moveTo>
                      <a:pt x="67" y="2"/>
                    </a:moveTo>
                    <a:lnTo>
                      <a:pt x="26" y="0"/>
                    </a:lnTo>
                    <a:lnTo>
                      <a:pt x="12" y="18"/>
                    </a:lnTo>
                    <a:lnTo>
                      <a:pt x="2" y="41"/>
                    </a:lnTo>
                    <a:lnTo>
                      <a:pt x="0" y="57"/>
                    </a:lnTo>
                    <a:lnTo>
                      <a:pt x="28" y="94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3" name="Freeform 20"/>
              <p:cNvSpPr>
                <a:spLocks/>
              </p:cNvSpPr>
              <p:nvPr/>
            </p:nvSpPr>
            <p:spPr bwMode="auto">
              <a:xfrm>
                <a:off x="4221163" y="2581275"/>
                <a:ext cx="382587" cy="19050"/>
              </a:xfrm>
              <a:custGeom>
                <a:avLst/>
                <a:gdLst>
                  <a:gd name="T0" fmla="*/ 2147483647 w 241"/>
                  <a:gd name="T1" fmla="*/ 0 h 12"/>
                  <a:gd name="T2" fmla="*/ 2147483647 w 241"/>
                  <a:gd name="T3" fmla="*/ 2147483647 h 12"/>
                  <a:gd name="T4" fmla="*/ 2147483647 w 241"/>
                  <a:gd name="T5" fmla="*/ 2147483647 h 12"/>
                  <a:gd name="T6" fmla="*/ 2147483647 w 241"/>
                  <a:gd name="T7" fmla="*/ 2147483647 h 12"/>
                  <a:gd name="T8" fmla="*/ 2147483647 w 241"/>
                  <a:gd name="T9" fmla="*/ 2147483647 h 12"/>
                  <a:gd name="T10" fmla="*/ 2147483647 w 241"/>
                  <a:gd name="T11" fmla="*/ 2147483647 h 12"/>
                  <a:gd name="T12" fmla="*/ 0 w 241"/>
                  <a:gd name="T13" fmla="*/ 2147483647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41"/>
                  <a:gd name="T22" fmla="*/ 0 h 12"/>
                  <a:gd name="T23" fmla="*/ 241 w 241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41" h="12">
                    <a:moveTo>
                      <a:pt x="241" y="0"/>
                    </a:moveTo>
                    <a:lnTo>
                      <a:pt x="164" y="7"/>
                    </a:lnTo>
                    <a:lnTo>
                      <a:pt x="146" y="9"/>
                    </a:lnTo>
                    <a:lnTo>
                      <a:pt x="111" y="7"/>
                    </a:lnTo>
                    <a:lnTo>
                      <a:pt x="74" y="9"/>
                    </a:lnTo>
                    <a:lnTo>
                      <a:pt x="32" y="7"/>
                    </a:lnTo>
                    <a:lnTo>
                      <a:pt x="0" y="1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4" name="Freeform 21"/>
              <p:cNvSpPr>
                <a:spLocks/>
              </p:cNvSpPr>
              <p:nvPr/>
            </p:nvSpPr>
            <p:spPr bwMode="auto">
              <a:xfrm>
                <a:off x="4219575" y="2432050"/>
                <a:ext cx="60325" cy="168275"/>
              </a:xfrm>
              <a:custGeom>
                <a:avLst/>
                <a:gdLst>
                  <a:gd name="T0" fmla="*/ 2147483647 w 38"/>
                  <a:gd name="T1" fmla="*/ 0 h 106"/>
                  <a:gd name="T2" fmla="*/ 2147483647 w 38"/>
                  <a:gd name="T3" fmla="*/ 2147483647 h 106"/>
                  <a:gd name="T4" fmla="*/ 2147483647 w 38"/>
                  <a:gd name="T5" fmla="*/ 2147483647 h 106"/>
                  <a:gd name="T6" fmla="*/ 0 w 38"/>
                  <a:gd name="T7" fmla="*/ 2147483647 h 10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"/>
                  <a:gd name="T13" fmla="*/ 0 h 106"/>
                  <a:gd name="T14" fmla="*/ 38 w 38"/>
                  <a:gd name="T15" fmla="*/ 106 h 10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" h="106">
                    <a:moveTo>
                      <a:pt x="24" y="0"/>
                    </a:moveTo>
                    <a:lnTo>
                      <a:pt x="38" y="36"/>
                    </a:lnTo>
                    <a:lnTo>
                      <a:pt x="36" y="58"/>
                    </a:lnTo>
                    <a:lnTo>
                      <a:pt x="0" y="106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5" name="Freeform 22"/>
              <p:cNvSpPr>
                <a:spLocks/>
              </p:cNvSpPr>
              <p:nvPr/>
            </p:nvSpPr>
            <p:spPr bwMode="auto">
              <a:xfrm>
                <a:off x="4252913" y="2368550"/>
                <a:ext cx="407987" cy="44450"/>
              </a:xfrm>
              <a:custGeom>
                <a:avLst/>
                <a:gdLst>
                  <a:gd name="T0" fmla="*/ 2147483647 w 257"/>
                  <a:gd name="T1" fmla="*/ 2147483647 h 28"/>
                  <a:gd name="T2" fmla="*/ 2147483647 w 257"/>
                  <a:gd name="T3" fmla="*/ 2147483647 h 28"/>
                  <a:gd name="T4" fmla="*/ 2147483647 w 257"/>
                  <a:gd name="T5" fmla="*/ 0 h 28"/>
                  <a:gd name="T6" fmla="*/ 2147483647 w 257"/>
                  <a:gd name="T7" fmla="*/ 0 h 28"/>
                  <a:gd name="T8" fmla="*/ 0 w 257"/>
                  <a:gd name="T9" fmla="*/ 2147483647 h 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7"/>
                  <a:gd name="T16" fmla="*/ 0 h 28"/>
                  <a:gd name="T17" fmla="*/ 257 w 257"/>
                  <a:gd name="T18" fmla="*/ 28 h 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7" h="28">
                    <a:moveTo>
                      <a:pt x="257" y="5"/>
                    </a:moveTo>
                    <a:lnTo>
                      <a:pt x="204" y="5"/>
                    </a:lnTo>
                    <a:lnTo>
                      <a:pt x="141" y="0"/>
                    </a:lnTo>
                    <a:lnTo>
                      <a:pt x="105" y="0"/>
                    </a:lnTo>
                    <a:lnTo>
                      <a:pt x="0" y="2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6" name="Freeform 23"/>
              <p:cNvSpPr>
                <a:spLocks/>
              </p:cNvSpPr>
              <p:nvPr/>
            </p:nvSpPr>
            <p:spPr bwMode="auto">
              <a:xfrm>
                <a:off x="4368800" y="2487613"/>
                <a:ext cx="76200" cy="95250"/>
              </a:xfrm>
              <a:custGeom>
                <a:avLst/>
                <a:gdLst>
                  <a:gd name="T0" fmla="*/ 2147483647 w 48"/>
                  <a:gd name="T1" fmla="*/ 2147483647 h 60"/>
                  <a:gd name="T2" fmla="*/ 0 w 48"/>
                  <a:gd name="T3" fmla="*/ 2147483647 h 60"/>
                  <a:gd name="T4" fmla="*/ 2147483647 w 48"/>
                  <a:gd name="T5" fmla="*/ 2147483647 h 60"/>
                  <a:gd name="T6" fmla="*/ 2147483647 w 48"/>
                  <a:gd name="T7" fmla="*/ 2147483647 h 60"/>
                  <a:gd name="T8" fmla="*/ 2147483647 w 48"/>
                  <a:gd name="T9" fmla="*/ 2147483647 h 60"/>
                  <a:gd name="T10" fmla="*/ 2147483647 w 48"/>
                  <a:gd name="T11" fmla="*/ 0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0"/>
                  <a:gd name="T20" fmla="*/ 48 w 48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0">
                    <a:moveTo>
                      <a:pt x="8" y="15"/>
                    </a:moveTo>
                    <a:lnTo>
                      <a:pt x="0" y="38"/>
                    </a:lnTo>
                    <a:lnTo>
                      <a:pt x="8" y="56"/>
                    </a:lnTo>
                    <a:lnTo>
                      <a:pt x="36" y="60"/>
                    </a:lnTo>
                    <a:lnTo>
                      <a:pt x="48" y="45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7" name="Freeform 24"/>
              <p:cNvSpPr>
                <a:spLocks/>
              </p:cNvSpPr>
              <p:nvPr/>
            </p:nvSpPr>
            <p:spPr bwMode="auto">
              <a:xfrm>
                <a:off x="4448175" y="2462213"/>
                <a:ext cx="87313" cy="58737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8" name="Freeform 25"/>
              <p:cNvSpPr>
                <a:spLocks/>
              </p:cNvSpPr>
              <p:nvPr/>
            </p:nvSpPr>
            <p:spPr bwMode="auto">
              <a:xfrm>
                <a:off x="4395788" y="2390775"/>
                <a:ext cx="77787" cy="76200"/>
              </a:xfrm>
              <a:custGeom>
                <a:avLst/>
                <a:gdLst>
                  <a:gd name="T0" fmla="*/ 2147483647 w 49"/>
                  <a:gd name="T1" fmla="*/ 2147483647 h 48"/>
                  <a:gd name="T2" fmla="*/ 2147483647 w 49"/>
                  <a:gd name="T3" fmla="*/ 2147483647 h 48"/>
                  <a:gd name="T4" fmla="*/ 2147483647 w 49"/>
                  <a:gd name="T5" fmla="*/ 0 h 48"/>
                  <a:gd name="T6" fmla="*/ 2147483647 w 49"/>
                  <a:gd name="T7" fmla="*/ 0 h 48"/>
                  <a:gd name="T8" fmla="*/ 0 w 49"/>
                  <a:gd name="T9" fmla="*/ 2147483647 h 48"/>
                  <a:gd name="T10" fmla="*/ 2147483647 w 49"/>
                  <a:gd name="T11" fmla="*/ 2147483647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48"/>
                  <a:gd name="T20" fmla="*/ 49 w 49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48">
                    <a:moveTo>
                      <a:pt x="43" y="42"/>
                    </a:moveTo>
                    <a:lnTo>
                      <a:pt x="49" y="10"/>
                    </a:lnTo>
                    <a:lnTo>
                      <a:pt x="34" y="0"/>
                    </a:lnTo>
                    <a:lnTo>
                      <a:pt x="12" y="0"/>
                    </a:lnTo>
                    <a:lnTo>
                      <a:pt x="0" y="13"/>
                    </a:lnTo>
                    <a:lnTo>
                      <a:pt x="2" y="4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19" name="Freeform 26"/>
              <p:cNvSpPr>
                <a:spLocks/>
              </p:cNvSpPr>
              <p:nvPr/>
            </p:nvSpPr>
            <p:spPr bwMode="auto">
              <a:xfrm>
                <a:off x="4310063" y="2465388"/>
                <a:ext cx="74612" cy="49212"/>
              </a:xfrm>
              <a:custGeom>
                <a:avLst/>
                <a:gdLst>
                  <a:gd name="T0" fmla="*/ 2147483647 w 47"/>
                  <a:gd name="T1" fmla="*/ 2147483647 h 31"/>
                  <a:gd name="T2" fmla="*/ 2147483647 w 47"/>
                  <a:gd name="T3" fmla="*/ 2147483647 h 31"/>
                  <a:gd name="T4" fmla="*/ 2147483647 w 47"/>
                  <a:gd name="T5" fmla="*/ 2147483647 h 31"/>
                  <a:gd name="T6" fmla="*/ 2147483647 w 47"/>
                  <a:gd name="T7" fmla="*/ 2147483647 h 31"/>
                  <a:gd name="T8" fmla="*/ 0 w 47"/>
                  <a:gd name="T9" fmla="*/ 2147483647 h 31"/>
                  <a:gd name="T10" fmla="*/ 2147483647 w 47"/>
                  <a:gd name="T11" fmla="*/ 0 h 3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7"/>
                  <a:gd name="T19" fmla="*/ 0 h 31"/>
                  <a:gd name="T20" fmla="*/ 47 w 47"/>
                  <a:gd name="T21" fmla="*/ 31 h 3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7" h="31">
                    <a:moveTo>
                      <a:pt x="43" y="28"/>
                    </a:moveTo>
                    <a:lnTo>
                      <a:pt x="19" y="31"/>
                    </a:lnTo>
                    <a:lnTo>
                      <a:pt x="6" y="29"/>
                    </a:lnTo>
                    <a:lnTo>
                      <a:pt x="1" y="16"/>
                    </a:lnTo>
                    <a:lnTo>
                      <a:pt x="0" y="1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0" name="Freeform 27"/>
              <p:cNvSpPr>
                <a:spLocks/>
              </p:cNvSpPr>
              <p:nvPr/>
            </p:nvSpPr>
            <p:spPr bwMode="auto">
              <a:xfrm>
                <a:off x="2500313" y="5362575"/>
                <a:ext cx="179387" cy="203200"/>
              </a:xfrm>
              <a:custGeom>
                <a:avLst/>
                <a:gdLst>
                  <a:gd name="T0" fmla="*/ 0 w 113"/>
                  <a:gd name="T1" fmla="*/ 0 h 128"/>
                  <a:gd name="T2" fmla="*/ 2147483647 w 113"/>
                  <a:gd name="T3" fmla="*/ 2147483647 h 128"/>
                  <a:gd name="T4" fmla="*/ 2147483647 w 113"/>
                  <a:gd name="T5" fmla="*/ 2147483647 h 128"/>
                  <a:gd name="T6" fmla="*/ 2147483647 w 113"/>
                  <a:gd name="T7" fmla="*/ 2147483647 h 128"/>
                  <a:gd name="T8" fmla="*/ 2147483647 w 113"/>
                  <a:gd name="T9" fmla="*/ 2147483647 h 128"/>
                  <a:gd name="T10" fmla="*/ 2147483647 w 113"/>
                  <a:gd name="T11" fmla="*/ 2147483647 h 128"/>
                  <a:gd name="T12" fmla="*/ 2147483647 w 113"/>
                  <a:gd name="T13" fmla="*/ 2147483647 h 128"/>
                  <a:gd name="T14" fmla="*/ 2147483647 w 113"/>
                  <a:gd name="T15" fmla="*/ 2147483647 h 128"/>
                  <a:gd name="T16" fmla="*/ 2147483647 w 113"/>
                  <a:gd name="T17" fmla="*/ 2147483647 h 12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3"/>
                  <a:gd name="T28" fmla="*/ 0 h 128"/>
                  <a:gd name="T29" fmla="*/ 113 w 113"/>
                  <a:gd name="T30" fmla="*/ 128 h 12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3" h="128">
                    <a:moveTo>
                      <a:pt x="0" y="0"/>
                    </a:moveTo>
                    <a:lnTo>
                      <a:pt x="24" y="48"/>
                    </a:lnTo>
                    <a:lnTo>
                      <a:pt x="32" y="59"/>
                    </a:lnTo>
                    <a:lnTo>
                      <a:pt x="41" y="83"/>
                    </a:lnTo>
                    <a:lnTo>
                      <a:pt x="51" y="95"/>
                    </a:lnTo>
                    <a:lnTo>
                      <a:pt x="62" y="108"/>
                    </a:lnTo>
                    <a:lnTo>
                      <a:pt x="84" y="122"/>
                    </a:lnTo>
                    <a:lnTo>
                      <a:pt x="103" y="124"/>
                    </a:lnTo>
                    <a:lnTo>
                      <a:pt x="113" y="12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1" name="Freeform 28"/>
              <p:cNvSpPr>
                <a:spLocks/>
              </p:cNvSpPr>
              <p:nvPr/>
            </p:nvSpPr>
            <p:spPr bwMode="auto">
              <a:xfrm>
                <a:off x="2490788" y="5565775"/>
                <a:ext cx="188912" cy="171450"/>
              </a:xfrm>
              <a:custGeom>
                <a:avLst/>
                <a:gdLst>
                  <a:gd name="T0" fmla="*/ 2147483647 w 119"/>
                  <a:gd name="T1" fmla="*/ 0 h 108"/>
                  <a:gd name="T2" fmla="*/ 2147483647 w 119"/>
                  <a:gd name="T3" fmla="*/ 2147483647 h 108"/>
                  <a:gd name="T4" fmla="*/ 2147483647 w 119"/>
                  <a:gd name="T5" fmla="*/ 2147483647 h 108"/>
                  <a:gd name="T6" fmla="*/ 2147483647 w 119"/>
                  <a:gd name="T7" fmla="*/ 2147483647 h 108"/>
                  <a:gd name="T8" fmla="*/ 0 w 119"/>
                  <a:gd name="T9" fmla="*/ 2147483647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9"/>
                  <a:gd name="T16" fmla="*/ 0 h 108"/>
                  <a:gd name="T17" fmla="*/ 119 w 119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9" h="108">
                    <a:moveTo>
                      <a:pt x="119" y="0"/>
                    </a:moveTo>
                    <a:lnTo>
                      <a:pt x="62" y="43"/>
                    </a:lnTo>
                    <a:lnTo>
                      <a:pt x="51" y="57"/>
                    </a:lnTo>
                    <a:lnTo>
                      <a:pt x="25" y="80"/>
                    </a:lnTo>
                    <a:lnTo>
                      <a:pt x="0" y="10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2" name="Freeform 29"/>
              <p:cNvSpPr>
                <a:spLocks/>
              </p:cNvSpPr>
              <p:nvPr/>
            </p:nvSpPr>
            <p:spPr bwMode="auto">
              <a:xfrm>
                <a:off x="2192338" y="5656263"/>
                <a:ext cx="298450" cy="87312"/>
              </a:xfrm>
              <a:custGeom>
                <a:avLst/>
                <a:gdLst>
                  <a:gd name="T0" fmla="*/ 0 w 188"/>
                  <a:gd name="T1" fmla="*/ 2147483647 h 55"/>
                  <a:gd name="T2" fmla="*/ 2147483647 w 188"/>
                  <a:gd name="T3" fmla="*/ 2147483647 h 55"/>
                  <a:gd name="T4" fmla="*/ 2147483647 w 188"/>
                  <a:gd name="T5" fmla="*/ 0 h 55"/>
                  <a:gd name="T6" fmla="*/ 2147483647 w 188"/>
                  <a:gd name="T7" fmla="*/ 2147483647 h 55"/>
                  <a:gd name="T8" fmla="*/ 2147483647 w 188"/>
                  <a:gd name="T9" fmla="*/ 2147483647 h 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8"/>
                  <a:gd name="T16" fmla="*/ 0 h 55"/>
                  <a:gd name="T17" fmla="*/ 188 w 188"/>
                  <a:gd name="T18" fmla="*/ 55 h 5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8" h="55">
                    <a:moveTo>
                      <a:pt x="0" y="1"/>
                    </a:moveTo>
                    <a:lnTo>
                      <a:pt x="29" y="1"/>
                    </a:lnTo>
                    <a:lnTo>
                      <a:pt x="70" y="0"/>
                    </a:lnTo>
                    <a:lnTo>
                      <a:pt x="102" y="6"/>
                    </a:lnTo>
                    <a:lnTo>
                      <a:pt x="188" y="55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3" name="Freeform 30"/>
              <p:cNvSpPr>
                <a:spLocks/>
              </p:cNvSpPr>
              <p:nvPr/>
            </p:nvSpPr>
            <p:spPr bwMode="auto">
              <a:xfrm>
                <a:off x="2233613" y="5399088"/>
                <a:ext cx="266700" cy="250825"/>
              </a:xfrm>
              <a:custGeom>
                <a:avLst/>
                <a:gdLst>
                  <a:gd name="T0" fmla="*/ 2147483647 w 168"/>
                  <a:gd name="T1" fmla="*/ 0 h 158"/>
                  <a:gd name="T2" fmla="*/ 2147483647 w 168"/>
                  <a:gd name="T3" fmla="*/ 2147483647 h 158"/>
                  <a:gd name="T4" fmla="*/ 2147483647 w 168"/>
                  <a:gd name="T5" fmla="*/ 2147483647 h 158"/>
                  <a:gd name="T6" fmla="*/ 2147483647 w 168"/>
                  <a:gd name="T7" fmla="*/ 2147483647 h 158"/>
                  <a:gd name="T8" fmla="*/ 2147483647 w 168"/>
                  <a:gd name="T9" fmla="*/ 2147483647 h 158"/>
                  <a:gd name="T10" fmla="*/ 2147483647 w 168"/>
                  <a:gd name="T11" fmla="*/ 2147483647 h 158"/>
                  <a:gd name="T12" fmla="*/ 2147483647 w 168"/>
                  <a:gd name="T13" fmla="*/ 2147483647 h 158"/>
                  <a:gd name="T14" fmla="*/ 0 w 168"/>
                  <a:gd name="T15" fmla="*/ 2147483647 h 1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8"/>
                  <a:gd name="T25" fmla="*/ 0 h 158"/>
                  <a:gd name="T26" fmla="*/ 168 w 168"/>
                  <a:gd name="T27" fmla="*/ 158 h 1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8" h="158">
                    <a:moveTo>
                      <a:pt x="168" y="0"/>
                    </a:moveTo>
                    <a:lnTo>
                      <a:pt x="154" y="13"/>
                    </a:lnTo>
                    <a:lnTo>
                      <a:pt x="150" y="21"/>
                    </a:lnTo>
                    <a:lnTo>
                      <a:pt x="123" y="50"/>
                    </a:lnTo>
                    <a:lnTo>
                      <a:pt x="98" y="75"/>
                    </a:lnTo>
                    <a:lnTo>
                      <a:pt x="66" y="110"/>
                    </a:lnTo>
                    <a:lnTo>
                      <a:pt x="30" y="139"/>
                    </a:lnTo>
                    <a:lnTo>
                      <a:pt x="0" y="15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4" name="Freeform 31"/>
              <p:cNvSpPr>
                <a:spLocks/>
              </p:cNvSpPr>
              <p:nvPr/>
            </p:nvSpPr>
            <p:spPr bwMode="auto">
              <a:xfrm rot="-2692776">
                <a:off x="2459038" y="5599113"/>
                <a:ext cx="76200" cy="95250"/>
              </a:xfrm>
              <a:custGeom>
                <a:avLst/>
                <a:gdLst>
                  <a:gd name="T0" fmla="*/ 2147483647 w 48"/>
                  <a:gd name="T1" fmla="*/ 2147483647 h 60"/>
                  <a:gd name="T2" fmla="*/ 0 w 48"/>
                  <a:gd name="T3" fmla="*/ 2147483647 h 60"/>
                  <a:gd name="T4" fmla="*/ 2147483647 w 48"/>
                  <a:gd name="T5" fmla="*/ 2147483647 h 60"/>
                  <a:gd name="T6" fmla="*/ 2147483647 w 48"/>
                  <a:gd name="T7" fmla="*/ 2147483647 h 60"/>
                  <a:gd name="T8" fmla="*/ 2147483647 w 48"/>
                  <a:gd name="T9" fmla="*/ 2147483647 h 60"/>
                  <a:gd name="T10" fmla="*/ 2147483647 w 48"/>
                  <a:gd name="T11" fmla="*/ 0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0"/>
                  <a:gd name="T20" fmla="*/ 48 w 48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0">
                    <a:moveTo>
                      <a:pt x="8" y="15"/>
                    </a:moveTo>
                    <a:lnTo>
                      <a:pt x="0" y="38"/>
                    </a:lnTo>
                    <a:lnTo>
                      <a:pt x="8" y="56"/>
                    </a:lnTo>
                    <a:lnTo>
                      <a:pt x="36" y="60"/>
                    </a:lnTo>
                    <a:lnTo>
                      <a:pt x="48" y="45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5" name="Freeform 32"/>
              <p:cNvSpPr>
                <a:spLocks/>
              </p:cNvSpPr>
              <p:nvPr/>
            </p:nvSpPr>
            <p:spPr bwMode="auto">
              <a:xfrm rot="-2692776">
                <a:off x="2482850" y="5526088"/>
                <a:ext cx="87313" cy="58737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6" name="Freeform 33"/>
              <p:cNvSpPr>
                <a:spLocks/>
              </p:cNvSpPr>
              <p:nvPr/>
            </p:nvSpPr>
            <p:spPr bwMode="auto">
              <a:xfrm rot="-2692776">
                <a:off x="2397125" y="5514975"/>
                <a:ext cx="80963" cy="66675"/>
              </a:xfrm>
              <a:custGeom>
                <a:avLst/>
                <a:gdLst>
                  <a:gd name="T0" fmla="*/ 2147483647 w 51"/>
                  <a:gd name="T1" fmla="*/ 2147483647 h 42"/>
                  <a:gd name="T2" fmla="*/ 2147483647 w 51"/>
                  <a:gd name="T3" fmla="*/ 2147483647 h 42"/>
                  <a:gd name="T4" fmla="*/ 2147483647 w 51"/>
                  <a:gd name="T5" fmla="*/ 0 h 42"/>
                  <a:gd name="T6" fmla="*/ 2147483647 w 51"/>
                  <a:gd name="T7" fmla="*/ 0 h 42"/>
                  <a:gd name="T8" fmla="*/ 2147483647 w 51"/>
                  <a:gd name="T9" fmla="*/ 2147483647 h 42"/>
                  <a:gd name="T10" fmla="*/ 0 w 51"/>
                  <a:gd name="T11" fmla="*/ 2147483647 h 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1"/>
                  <a:gd name="T19" fmla="*/ 0 h 42"/>
                  <a:gd name="T20" fmla="*/ 51 w 51"/>
                  <a:gd name="T21" fmla="*/ 42 h 4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1" h="42">
                    <a:moveTo>
                      <a:pt x="45" y="42"/>
                    </a:moveTo>
                    <a:lnTo>
                      <a:pt x="51" y="10"/>
                    </a:lnTo>
                    <a:lnTo>
                      <a:pt x="36" y="0"/>
                    </a:lnTo>
                    <a:lnTo>
                      <a:pt x="14" y="0"/>
                    </a:lnTo>
                    <a:lnTo>
                      <a:pt x="2" y="13"/>
                    </a:lnTo>
                    <a:lnTo>
                      <a:pt x="0" y="39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7" name="Freeform 34"/>
              <p:cNvSpPr>
                <a:spLocks/>
              </p:cNvSpPr>
              <p:nvPr/>
            </p:nvSpPr>
            <p:spPr bwMode="auto">
              <a:xfrm rot="-2692776">
                <a:off x="2378075" y="5613400"/>
                <a:ext cx="76200" cy="69850"/>
              </a:xfrm>
              <a:custGeom>
                <a:avLst/>
                <a:gdLst>
                  <a:gd name="T0" fmla="*/ 2147483647 w 48"/>
                  <a:gd name="T1" fmla="*/ 2147483647 h 44"/>
                  <a:gd name="T2" fmla="*/ 2147483647 w 48"/>
                  <a:gd name="T3" fmla="*/ 2147483647 h 44"/>
                  <a:gd name="T4" fmla="*/ 2147483647 w 48"/>
                  <a:gd name="T5" fmla="*/ 2147483647 h 44"/>
                  <a:gd name="T6" fmla="*/ 2147483647 w 48"/>
                  <a:gd name="T7" fmla="*/ 2147483647 h 44"/>
                  <a:gd name="T8" fmla="*/ 0 w 48"/>
                  <a:gd name="T9" fmla="*/ 2147483647 h 44"/>
                  <a:gd name="T10" fmla="*/ 2147483647 w 48"/>
                  <a:gd name="T11" fmla="*/ 2147483647 h 44"/>
                  <a:gd name="T12" fmla="*/ 2147483647 w 48"/>
                  <a:gd name="T13" fmla="*/ 0 h 44"/>
                  <a:gd name="T14" fmla="*/ 2147483647 w 48"/>
                  <a:gd name="T15" fmla="*/ 2147483647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8"/>
                  <a:gd name="T25" fmla="*/ 0 h 44"/>
                  <a:gd name="T26" fmla="*/ 48 w 48"/>
                  <a:gd name="T27" fmla="*/ 44 h 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8" h="44">
                    <a:moveTo>
                      <a:pt x="43" y="41"/>
                    </a:moveTo>
                    <a:lnTo>
                      <a:pt x="19" y="44"/>
                    </a:lnTo>
                    <a:lnTo>
                      <a:pt x="6" y="42"/>
                    </a:lnTo>
                    <a:lnTo>
                      <a:pt x="1" y="29"/>
                    </a:lnTo>
                    <a:lnTo>
                      <a:pt x="0" y="14"/>
                    </a:lnTo>
                    <a:lnTo>
                      <a:pt x="4" y="2"/>
                    </a:lnTo>
                    <a:lnTo>
                      <a:pt x="19" y="0"/>
                    </a:lnTo>
                    <a:lnTo>
                      <a:pt x="48" y="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8" name="Freeform 35"/>
              <p:cNvSpPr>
                <a:spLocks/>
              </p:cNvSpPr>
              <p:nvPr/>
            </p:nvSpPr>
            <p:spPr bwMode="auto">
              <a:xfrm rot="-2692776">
                <a:off x="2219325" y="5570538"/>
                <a:ext cx="196850" cy="111125"/>
              </a:xfrm>
              <a:custGeom>
                <a:avLst/>
                <a:gdLst>
                  <a:gd name="T0" fmla="*/ 2147483647 w 124"/>
                  <a:gd name="T1" fmla="*/ 2147483647 h 70"/>
                  <a:gd name="T2" fmla="*/ 2147483647 w 124"/>
                  <a:gd name="T3" fmla="*/ 2147483647 h 70"/>
                  <a:gd name="T4" fmla="*/ 0 w 124"/>
                  <a:gd name="T5" fmla="*/ 0 h 70"/>
                  <a:gd name="T6" fmla="*/ 0 60000 65536"/>
                  <a:gd name="T7" fmla="*/ 0 60000 65536"/>
                  <a:gd name="T8" fmla="*/ 0 60000 65536"/>
                  <a:gd name="T9" fmla="*/ 0 w 124"/>
                  <a:gd name="T10" fmla="*/ 0 h 70"/>
                  <a:gd name="T11" fmla="*/ 124 w 124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4" h="70">
                    <a:moveTo>
                      <a:pt x="124" y="70"/>
                    </a:moveTo>
                    <a:lnTo>
                      <a:pt x="112" y="6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29" name="Freeform 36"/>
              <p:cNvSpPr>
                <a:spLocks/>
              </p:cNvSpPr>
              <p:nvPr/>
            </p:nvSpPr>
            <p:spPr bwMode="auto">
              <a:xfrm rot="-2692776">
                <a:off x="2511425" y="5526088"/>
                <a:ext cx="150813" cy="111125"/>
              </a:xfrm>
              <a:custGeom>
                <a:avLst/>
                <a:gdLst>
                  <a:gd name="T0" fmla="*/ 0 w 95"/>
                  <a:gd name="T1" fmla="*/ 0 h 70"/>
                  <a:gd name="T2" fmla="*/ 2147483647 w 95"/>
                  <a:gd name="T3" fmla="*/ 2147483647 h 70"/>
                  <a:gd name="T4" fmla="*/ 2147483647 w 95"/>
                  <a:gd name="T5" fmla="*/ 2147483647 h 70"/>
                  <a:gd name="T6" fmla="*/ 0 60000 65536"/>
                  <a:gd name="T7" fmla="*/ 0 60000 65536"/>
                  <a:gd name="T8" fmla="*/ 0 60000 65536"/>
                  <a:gd name="T9" fmla="*/ 0 w 95"/>
                  <a:gd name="T10" fmla="*/ 0 h 70"/>
                  <a:gd name="T11" fmla="*/ 95 w 95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5" h="70">
                    <a:moveTo>
                      <a:pt x="0" y="0"/>
                    </a:moveTo>
                    <a:lnTo>
                      <a:pt x="32" y="35"/>
                    </a:lnTo>
                    <a:lnTo>
                      <a:pt x="95" y="7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0" name="Freeform 37"/>
              <p:cNvSpPr>
                <a:spLocks/>
              </p:cNvSpPr>
              <p:nvPr/>
            </p:nvSpPr>
            <p:spPr bwMode="auto">
              <a:xfrm>
                <a:off x="5948363" y="2262188"/>
                <a:ext cx="176212" cy="209550"/>
              </a:xfrm>
              <a:custGeom>
                <a:avLst/>
                <a:gdLst>
                  <a:gd name="T0" fmla="*/ 0 w 111"/>
                  <a:gd name="T1" fmla="*/ 0 h 132"/>
                  <a:gd name="T2" fmla="*/ 2147483647 w 111"/>
                  <a:gd name="T3" fmla="*/ 2147483647 h 132"/>
                  <a:gd name="T4" fmla="*/ 2147483647 w 111"/>
                  <a:gd name="T5" fmla="*/ 2147483647 h 132"/>
                  <a:gd name="T6" fmla="*/ 2147483647 w 111"/>
                  <a:gd name="T7" fmla="*/ 2147483647 h 132"/>
                  <a:gd name="T8" fmla="*/ 2147483647 w 111"/>
                  <a:gd name="T9" fmla="*/ 2147483647 h 132"/>
                  <a:gd name="T10" fmla="*/ 2147483647 w 111"/>
                  <a:gd name="T11" fmla="*/ 2147483647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1"/>
                  <a:gd name="T19" fmla="*/ 0 h 132"/>
                  <a:gd name="T20" fmla="*/ 111 w 111"/>
                  <a:gd name="T21" fmla="*/ 132 h 1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1" h="132">
                    <a:moveTo>
                      <a:pt x="0" y="0"/>
                    </a:moveTo>
                    <a:lnTo>
                      <a:pt x="66" y="77"/>
                    </a:lnTo>
                    <a:lnTo>
                      <a:pt x="72" y="93"/>
                    </a:lnTo>
                    <a:lnTo>
                      <a:pt x="87" y="114"/>
                    </a:lnTo>
                    <a:lnTo>
                      <a:pt x="103" y="124"/>
                    </a:lnTo>
                    <a:lnTo>
                      <a:pt x="111" y="13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1" name="Freeform 38"/>
              <p:cNvSpPr>
                <a:spLocks/>
              </p:cNvSpPr>
              <p:nvPr/>
            </p:nvSpPr>
            <p:spPr bwMode="auto">
              <a:xfrm>
                <a:off x="5862638" y="2471738"/>
                <a:ext cx="261937" cy="147637"/>
              </a:xfrm>
              <a:custGeom>
                <a:avLst/>
                <a:gdLst>
                  <a:gd name="T0" fmla="*/ 2147483647 w 165"/>
                  <a:gd name="T1" fmla="*/ 0 h 93"/>
                  <a:gd name="T2" fmla="*/ 2147483647 w 165"/>
                  <a:gd name="T3" fmla="*/ 2147483647 h 93"/>
                  <a:gd name="T4" fmla="*/ 2147483647 w 165"/>
                  <a:gd name="T5" fmla="*/ 2147483647 h 93"/>
                  <a:gd name="T6" fmla="*/ 0 w 165"/>
                  <a:gd name="T7" fmla="*/ 2147483647 h 9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5"/>
                  <a:gd name="T13" fmla="*/ 0 h 93"/>
                  <a:gd name="T14" fmla="*/ 165 w 165"/>
                  <a:gd name="T15" fmla="*/ 93 h 9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5" h="93">
                    <a:moveTo>
                      <a:pt x="165" y="0"/>
                    </a:moveTo>
                    <a:lnTo>
                      <a:pt x="96" y="16"/>
                    </a:lnTo>
                    <a:lnTo>
                      <a:pt x="80" y="25"/>
                    </a:lnTo>
                    <a:lnTo>
                      <a:pt x="0" y="93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2" name="Freeform 39"/>
              <p:cNvSpPr>
                <a:spLocks/>
              </p:cNvSpPr>
              <p:nvPr/>
            </p:nvSpPr>
            <p:spPr bwMode="auto">
              <a:xfrm>
                <a:off x="5640388" y="2365375"/>
                <a:ext cx="212725" cy="230188"/>
              </a:xfrm>
              <a:custGeom>
                <a:avLst/>
                <a:gdLst>
                  <a:gd name="T0" fmla="*/ 0 w 134"/>
                  <a:gd name="T1" fmla="*/ 0 h 145"/>
                  <a:gd name="T2" fmla="*/ 2147483647 w 134"/>
                  <a:gd name="T3" fmla="*/ 2147483647 h 145"/>
                  <a:gd name="T4" fmla="*/ 2147483647 w 134"/>
                  <a:gd name="T5" fmla="*/ 2147483647 h 145"/>
                  <a:gd name="T6" fmla="*/ 2147483647 w 134"/>
                  <a:gd name="T7" fmla="*/ 2147483647 h 145"/>
                  <a:gd name="T8" fmla="*/ 2147483647 w 134"/>
                  <a:gd name="T9" fmla="*/ 2147483647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4"/>
                  <a:gd name="T16" fmla="*/ 0 h 145"/>
                  <a:gd name="T17" fmla="*/ 134 w 134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4" h="145">
                    <a:moveTo>
                      <a:pt x="0" y="0"/>
                    </a:moveTo>
                    <a:lnTo>
                      <a:pt x="27" y="11"/>
                    </a:lnTo>
                    <a:lnTo>
                      <a:pt x="65" y="26"/>
                    </a:lnTo>
                    <a:lnTo>
                      <a:pt x="91" y="45"/>
                    </a:lnTo>
                    <a:lnTo>
                      <a:pt x="134" y="145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3" name="Freeform 40"/>
              <p:cNvSpPr>
                <a:spLocks/>
              </p:cNvSpPr>
              <p:nvPr/>
            </p:nvSpPr>
            <p:spPr bwMode="auto">
              <a:xfrm>
                <a:off x="5678488" y="2262188"/>
                <a:ext cx="265112" cy="112712"/>
              </a:xfrm>
              <a:custGeom>
                <a:avLst/>
                <a:gdLst>
                  <a:gd name="T0" fmla="*/ 2147483647 w 167"/>
                  <a:gd name="T1" fmla="*/ 0 h 71"/>
                  <a:gd name="T2" fmla="*/ 2147483647 w 167"/>
                  <a:gd name="T3" fmla="*/ 2147483647 h 71"/>
                  <a:gd name="T4" fmla="*/ 2147483647 w 167"/>
                  <a:gd name="T5" fmla="*/ 2147483647 h 71"/>
                  <a:gd name="T6" fmla="*/ 2147483647 w 167"/>
                  <a:gd name="T7" fmla="*/ 2147483647 h 71"/>
                  <a:gd name="T8" fmla="*/ 0 w 167"/>
                  <a:gd name="T9" fmla="*/ 2147483647 h 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7"/>
                  <a:gd name="T16" fmla="*/ 0 h 71"/>
                  <a:gd name="T17" fmla="*/ 167 w 167"/>
                  <a:gd name="T18" fmla="*/ 71 h 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7" h="71">
                    <a:moveTo>
                      <a:pt x="167" y="0"/>
                    </a:moveTo>
                    <a:lnTo>
                      <a:pt x="123" y="32"/>
                    </a:lnTo>
                    <a:lnTo>
                      <a:pt x="80" y="52"/>
                    </a:lnTo>
                    <a:lnTo>
                      <a:pt x="35" y="64"/>
                    </a:lnTo>
                    <a:lnTo>
                      <a:pt x="0" y="71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4" name="Freeform 41"/>
              <p:cNvSpPr>
                <a:spLocks/>
              </p:cNvSpPr>
              <p:nvPr/>
            </p:nvSpPr>
            <p:spPr bwMode="auto">
              <a:xfrm rot="-1312170">
                <a:off x="5886450" y="2425700"/>
                <a:ext cx="76200" cy="95250"/>
              </a:xfrm>
              <a:custGeom>
                <a:avLst/>
                <a:gdLst>
                  <a:gd name="T0" fmla="*/ 2147483647 w 48"/>
                  <a:gd name="T1" fmla="*/ 2147483647 h 60"/>
                  <a:gd name="T2" fmla="*/ 0 w 48"/>
                  <a:gd name="T3" fmla="*/ 2147483647 h 60"/>
                  <a:gd name="T4" fmla="*/ 2147483647 w 48"/>
                  <a:gd name="T5" fmla="*/ 2147483647 h 60"/>
                  <a:gd name="T6" fmla="*/ 2147483647 w 48"/>
                  <a:gd name="T7" fmla="*/ 2147483647 h 60"/>
                  <a:gd name="T8" fmla="*/ 2147483647 w 48"/>
                  <a:gd name="T9" fmla="*/ 2147483647 h 60"/>
                  <a:gd name="T10" fmla="*/ 2147483647 w 48"/>
                  <a:gd name="T11" fmla="*/ 0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0"/>
                  <a:gd name="T20" fmla="*/ 48 w 48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0">
                    <a:moveTo>
                      <a:pt x="8" y="15"/>
                    </a:moveTo>
                    <a:lnTo>
                      <a:pt x="0" y="38"/>
                    </a:lnTo>
                    <a:lnTo>
                      <a:pt x="8" y="56"/>
                    </a:lnTo>
                    <a:lnTo>
                      <a:pt x="36" y="60"/>
                    </a:lnTo>
                    <a:lnTo>
                      <a:pt x="48" y="45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5" name="Freeform 42"/>
              <p:cNvSpPr>
                <a:spLocks/>
              </p:cNvSpPr>
              <p:nvPr/>
            </p:nvSpPr>
            <p:spPr bwMode="auto">
              <a:xfrm rot="-1312170">
                <a:off x="5943600" y="2371725"/>
                <a:ext cx="87313" cy="58738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6" name="Freeform 43"/>
              <p:cNvSpPr>
                <a:spLocks/>
              </p:cNvSpPr>
              <p:nvPr/>
            </p:nvSpPr>
            <p:spPr bwMode="auto">
              <a:xfrm rot="-1312170">
                <a:off x="5867400" y="2327275"/>
                <a:ext cx="80963" cy="66675"/>
              </a:xfrm>
              <a:custGeom>
                <a:avLst/>
                <a:gdLst>
                  <a:gd name="T0" fmla="*/ 2147483647 w 51"/>
                  <a:gd name="T1" fmla="*/ 2147483647 h 42"/>
                  <a:gd name="T2" fmla="*/ 2147483647 w 51"/>
                  <a:gd name="T3" fmla="*/ 2147483647 h 42"/>
                  <a:gd name="T4" fmla="*/ 2147483647 w 51"/>
                  <a:gd name="T5" fmla="*/ 0 h 42"/>
                  <a:gd name="T6" fmla="*/ 2147483647 w 51"/>
                  <a:gd name="T7" fmla="*/ 0 h 42"/>
                  <a:gd name="T8" fmla="*/ 2147483647 w 51"/>
                  <a:gd name="T9" fmla="*/ 2147483647 h 42"/>
                  <a:gd name="T10" fmla="*/ 0 w 51"/>
                  <a:gd name="T11" fmla="*/ 2147483647 h 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1"/>
                  <a:gd name="T19" fmla="*/ 0 h 42"/>
                  <a:gd name="T20" fmla="*/ 51 w 51"/>
                  <a:gd name="T21" fmla="*/ 42 h 4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1" h="42">
                    <a:moveTo>
                      <a:pt x="45" y="42"/>
                    </a:moveTo>
                    <a:lnTo>
                      <a:pt x="51" y="10"/>
                    </a:lnTo>
                    <a:lnTo>
                      <a:pt x="36" y="0"/>
                    </a:lnTo>
                    <a:lnTo>
                      <a:pt x="14" y="0"/>
                    </a:lnTo>
                    <a:lnTo>
                      <a:pt x="2" y="13"/>
                    </a:lnTo>
                    <a:lnTo>
                      <a:pt x="0" y="39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7" name="Freeform 44"/>
              <p:cNvSpPr>
                <a:spLocks/>
              </p:cNvSpPr>
              <p:nvPr/>
            </p:nvSpPr>
            <p:spPr bwMode="auto">
              <a:xfrm rot="-1312170">
                <a:off x="5811838" y="2408238"/>
                <a:ext cx="76200" cy="69850"/>
              </a:xfrm>
              <a:custGeom>
                <a:avLst/>
                <a:gdLst>
                  <a:gd name="T0" fmla="*/ 2147483647 w 48"/>
                  <a:gd name="T1" fmla="*/ 2147483647 h 44"/>
                  <a:gd name="T2" fmla="*/ 2147483647 w 48"/>
                  <a:gd name="T3" fmla="*/ 2147483647 h 44"/>
                  <a:gd name="T4" fmla="*/ 2147483647 w 48"/>
                  <a:gd name="T5" fmla="*/ 2147483647 h 44"/>
                  <a:gd name="T6" fmla="*/ 2147483647 w 48"/>
                  <a:gd name="T7" fmla="*/ 2147483647 h 44"/>
                  <a:gd name="T8" fmla="*/ 0 w 48"/>
                  <a:gd name="T9" fmla="*/ 2147483647 h 44"/>
                  <a:gd name="T10" fmla="*/ 2147483647 w 48"/>
                  <a:gd name="T11" fmla="*/ 2147483647 h 44"/>
                  <a:gd name="T12" fmla="*/ 2147483647 w 48"/>
                  <a:gd name="T13" fmla="*/ 0 h 44"/>
                  <a:gd name="T14" fmla="*/ 2147483647 w 48"/>
                  <a:gd name="T15" fmla="*/ 2147483647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8"/>
                  <a:gd name="T25" fmla="*/ 0 h 44"/>
                  <a:gd name="T26" fmla="*/ 48 w 48"/>
                  <a:gd name="T27" fmla="*/ 44 h 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8" h="44">
                    <a:moveTo>
                      <a:pt x="43" y="41"/>
                    </a:moveTo>
                    <a:lnTo>
                      <a:pt x="19" y="44"/>
                    </a:lnTo>
                    <a:lnTo>
                      <a:pt x="6" y="42"/>
                    </a:lnTo>
                    <a:lnTo>
                      <a:pt x="1" y="29"/>
                    </a:lnTo>
                    <a:lnTo>
                      <a:pt x="0" y="14"/>
                    </a:lnTo>
                    <a:lnTo>
                      <a:pt x="4" y="2"/>
                    </a:lnTo>
                    <a:lnTo>
                      <a:pt x="19" y="0"/>
                    </a:lnTo>
                    <a:lnTo>
                      <a:pt x="48" y="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8" name="Freeform 45"/>
              <p:cNvSpPr>
                <a:spLocks/>
              </p:cNvSpPr>
              <p:nvPr/>
            </p:nvSpPr>
            <p:spPr bwMode="auto">
              <a:xfrm rot="-1312170">
                <a:off x="5668963" y="2328863"/>
                <a:ext cx="196850" cy="111125"/>
              </a:xfrm>
              <a:custGeom>
                <a:avLst/>
                <a:gdLst>
                  <a:gd name="T0" fmla="*/ 2147483647 w 124"/>
                  <a:gd name="T1" fmla="*/ 2147483647 h 70"/>
                  <a:gd name="T2" fmla="*/ 2147483647 w 124"/>
                  <a:gd name="T3" fmla="*/ 2147483647 h 70"/>
                  <a:gd name="T4" fmla="*/ 0 w 124"/>
                  <a:gd name="T5" fmla="*/ 0 h 70"/>
                  <a:gd name="T6" fmla="*/ 0 60000 65536"/>
                  <a:gd name="T7" fmla="*/ 0 60000 65536"/>
                  <a:gd name="T8" fmla="*/ 0 60000 65536"/>
                  <a:gd name="T9" fmla="*/ 0 w 124"/>
                  <a:gd name="T10" fmla="*/ 0 h 70"/>
                  <a:gd name="T11" fmla="*/ 124 w 124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4" h="70">
                    <a:moveTo>
                      <a:pt x="124" y="70"/>
                    </a:moveTo>
                    <a:lnTo>
                      <a:pt x="112" y="66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39" name="Freeform 46"/>
              <p:cNvSpPr>
                <a:spLocks/>
              </p:cNvSpPr>
              <p:nvPr/>
            </p:nvSpPr>
            <p:spPr bwMode="auto">
              <a:xfrm rot="-1312170">
                <a:off x="5957888" y="2392363"/>
                <a:ext cx="150812" cy="111125"/>
              </a:xfrm>
              <a:custGeom>
                <a:avLst/>
                <a:gdLst>
                  <a:gd name="T0" fmla="*/ 0 w 95"/>
                  <a:gd name="T1" fmla="*/ 0 h 70"/>
                  <a:gd name="T2" fmla="*/ 2147483647 w 95"/>
                  <a:gd name="T3" fmla="*/ 2147483647 h 70"/>
                  <a:gd name="T4" fmla="*/ 2147483647 w 95"/>
                  <a:gd name="T5" fmla="*/ 2147483647 h 70"/>
                  <a:gd name="T6" fmla="*/ 0 60000 65536"/>
                  <a:gd name="T7" fmla="*/ 0 60000 65536"/>
                  <a:gd name="T8" fmla="*/ 0 60000 65536"/>
                  <a:gd name="T9" fmla="*/ 0 w 95"/>
                  <a:gd name="T10" fmla="*/ 0 h 70"/>
                  <a:gd name="T11" fmla="*/ 95 w 95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5" h="70">
                    <a:moveTo>
                      <a:pt x="0" y="0"/>
                    </a:moveTo>
                    <a:lnTo>
                      <a:pt x="32" y="35"/>
                    </a:lnTo>
                    <a:lnTo>
                      <a:pt x="95" y="70"/>
                    </a:lnTo>
                  </a:path>
                </a:pathLst>
              </a:custGeom>
              <a:noFill/>
              <a:ln w="95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0" name="Freeform 47"/>
              <p:cNvSpPr>
                <a:spLocks/>
              </p:cNvSpPr>
              <p:nvPr/>
            </p:nvSpPr>
            <p:spPr bwMode="auto">
              <a:xfrm>
                <a:off x="7804150" y="2990850"/>
                <a:ext cx="34925" cy="241300"/>
              </a:xfrm>
              <a:custGeom>
                <a:avLst/>
                <a:gdLst>
                  <a:gd name="T0" fmla="*/ 2147483647 w 22"/>
                  <a:gd name="T1" fmla="*/ 0 h 152"/>
                  <a:gd name="T2" fmla="*/ 2147483647 w 22"/>
                  <a:gd name="T3" fmla="*/ 2147483647 h 152"/>
                  <a:gd name="T4" fmla="*/ 2147483647 w 22"/>
                  <a:gd name="T5" fmla="*/ 2147483647 h 152"/>
                  <a:gd name="T6" fmla="*/ 0 w 22"/>
                  <a:gd name="T7" fmla="*/ 2147483647 h 152"/>
                  <a:gd name="T8" fmla="*/ 2147483647 w 22"/>
                  <a:gd name="T9" fmla="*/ 2147483647 h 152"/>
                  <a:gd name="T10" fmla="*/ 2147483647 w 22"/>
                  <a:gd name="T11" fmla="*/ 2147483647 h 152"/>
                  <a:gd name="T12" fmla="*/ 2147483647 w 22"/>
                  <a:gd name="T13" fmla="*/ 2147483647 h 1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152"/>
                  <a:gd name="T23" fmla="*/ 22 w 22"/>
                  <a:gd name="T24" fmla="*/ 152 h 1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152">
                    <a:moveTo>
                      <a:pt x="14" y="0"/>
                    </a:moveTo>
                    <a:lnTo>
                      <a:pt x="3" y="69"/>
                    </a:lnTo>
                    <a:lnTo>
                      <a:pt x="1" y="85"/>
                    </a:lnTo>
                    <a:lnTo>
                      <a:pt x="0" y="102"/>
                    </a:lnTo>
                    <a:lnTo>
                      <a:pt x="6" y="127"/>
                    </a:lnTo>
                    <a:lnTo>
                      <a:pt x="18" y="142"/>
                    </a:lnTo>
                    <a:lnTo>
                      <a:pt x="22" y="15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1" name="Freeform 48"/>
              <p:cNvSpPr>
                <a:spLocks/>
              </p:cNvSpPr>
              <p:nvPr/>
            </p:nvSpPr>
            <p:spPr bwMode="auto">
              <a:xfrm>
                <a:off x="7467600" y="3216275"/>
                <a:ext cx="371475" cy="15875"/>
              </a:xfrm>
              <a:custGeom>
                <a:avLst/>
                <a:gdLst>
                  <a:gd name="T0" fmla="*/ 2147483647 w 234"/>
                  <a:gd name="T1" fmla="*/ 2147483647 h 10"/>
                  <a:gd name="T2" fmla="*/ 2147483647 w 234"/>
                  <a:gd name="T3" fmla="*/ 0 h 10"/>
                  <a:gd name="T4" fmla="*/ 2147483647 w 234"/>
                  <a:gd name="T5" fmla="*/ 2147483647 h 10"/>
                  <a:gd name="T6" fmla="*/ 2147483647 w 234"/>
                  <a:gd name="T7" fmla="*/ 0 h 10"/>
                  <a:gd name="T8" fmla="*/ 2147483647 w 234"/>
                  <a:gd name="T9" fmla="*/ 2147483647 h 10"/>
                  <a:gd name="T10" fmla="*/ 2147483647 w 234"/>
                  <a:gd name="T11" fmla="*/ 0 h 10"/>
                  <a:gd name="T12" fmla="*/ 0 w 234"/>
                  <a:gd name="T13" fmla="*/ 2147483647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4"/>
                  <a:gd name="T22" fmla="*/ 0 h 10"/>
                  <a:gd name="T23" fmla="*/ 234 w 234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4" h="10">
                    <a:moveTo>
                      <a:pt x="234" y="10"/>
                    </a:moveTo>
                    <a:lnTo>
                      <a:pt x="164" y="0"/>
                    </a:lnTo>
                    <a:lnTo>
                      <a:pt x="146" y="2"/>
                    </a:lnTo>
                    <a:lnTo>
                      <a:pt x="111" y="0"/>
                    </a:lnTo>
                    <a:lnTo>
                      <a:pt x="74" y="2"/>
                    </a:lnTo>
                    <a:lnTo>
                      <a:pt x="32" y="0"/>
                    </a:lnTo>
                    <a:lnTo>
                      <a:pt x="0" y="5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2" name="Freeform 49"/>
              <p:cNvSpPr>
                <a:spLocks/>
              </p:cNvSpPr>
              <p:nvPr/>
            </p:nvSpPr>
            <p:spPr bwMode="auto">
              <a:xfrm>
                <a:off x="7429500" y="2954338"/>
                <a:ext cx="107950" cy="269875"/>
              </a:xfrm>
              <a:custGeom>
                <a:avLst/>
                <a:gdLst>
                  <a:gd name="T0" fmla="*/ 0 w 68"/>
                  <a:gd name="T1" fmla="*/ 0 h 170"/>
                  <a:gd name="T2" fmla="*/ 2147483647 w 68"/>
                  <a:gd name="T3" fmla="*/ 2147483647 h 170"/>
                  <a:gd name="T4" fmla="*/ 2147483647 w 68"/>
                  <a:gd name="T5" fmla="*/ 2147483647 h 170"/>
                  <a:gd name="T6" fmla="*/ 2147483647 w 68"/>
                  <a:gd name="T7" fmla="*/ 2147483647 h 170"/>
                  <a:gd name="T8" fmla="*/ 2147483647 w 68"/>
                  <a:gd name="T9" fmla="*/ 2147483647 h 170"/>
                  <a:gd name="T10" fmla="*/ 2147483647 w 68"/>
                  <a:gd name="T11" fmla="*/ 2147483647 h 170"/>
                  <a:gd name="T12" fmla="*/ 2147483647 w 68"/>
                  <a:gd name="T13" fmla="*/ 2147483647 h 1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8"/>
                  <a:gd name="T22" fmla="*/ 0 h 170"/>
                  <a:gd name="T23" fmla="*/ 68 w 68"/>
                  <a:gd name="T24" fmla="*/ 170 h 17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8" h="170">
                    <a:moveTo>
                      <a:pt x="0" y="0"/>
                    </a:moveTo>
                    <a:lnTo>
                      <a:pt x="21" y="20"/>
                    </a:lnTo>
                    <a:lnTo>
                      <a:pt x="50" y="48"/>
                    </a:lnTo>
                    <a:lnTo>
                      <a:pt x="68" y="75"/>
                    </a:lnTo>
                    <a:lnTo>
                      <a:pt x="59" y="122"/>
                    </a:lnTo>
                    <a:lnTo>
                      <a:pt x="56" y="144"/>
                    </a:lnTo>
                    <a:lnTo>
                      <a:pt x="23" y="17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3" name="Freeform 50"/>
              <p:cNvSpPr>
                <a:spLocks/>
              </p:cNvSpPr>
              <p:nvPr/>
            </p:nvSpPr>
            <p:spPr bwMode="auto">
              <a:xfrm>
                <a:off x="7462838" y="2976563"/>
                <a:ext cx="336550" cy="19050"/>
              </a:xfrm>
              <a:custGeom>
                <a:avLst/>
                <a:gdLst>
                  <a:gd name="T0" fmla="*/ 2147483647 w 212"/>
                  <a:gd name="T1" fmla="*/ 2147483647 h 12"/>
                  <a:gd name="T2" fmla="*/ 2147483647 w 212"/>
                  <a:gd name="T3" fmla="*/ 2147483647 h 12"/>
                  <a:gd name="T4" fmla="*/ 2147483647 w 212"/>
                  <a:gd name="T5" fmla="*/ 2147483647 h 12"/>
                  <a:gd name="T6" fmla="*/ 2147483647 w 212"/>
                  <a:gd name="T7" fmla="*/ 2147483647 h 12"/>
                  <a:gd name="T8" fmla="*/ 2147483647 w 212"/>
                  <a:gd name="T9" fmla="*/ 2147483647 h 12"/>
                  <a:gd name="T10" fmla="*/ 2147483647 w 212"/>
                  <a:gd name="T11" fmla="*/ 2147483647 h 12"/>
                  <a:gd name="T12" fmla="*/ 0 w 212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2"/>
                  <a:gd name="T22" fmla="*/ 0 h 12"/>
                  <a:gd name="T23" fmla="*/ 212 w 212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2" h="12">
                    <a:moveTo>
                      <a:pt x="212" y="6"/>
                    </a:moveTo>
                    <a:lnTo>
                      <a:pt x="203" y="9"/>
                    </a:lnTo>
                    <a:lnTo>
                      <a:pt x="164" y="10"/>
                    </a:lnTo>
                    <a:lnTo>
                      <a:pt x="128" y="10"/>
                    </a:lnTo>
                    <a:lnTo>
                      <a:pt x="81" y="12"/>
                    </a:lnTo>
                    <a:lnTo>
                      <a:pt x="35" y="7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4" name="Freeform 51"/>
              <p:cNvSpPr>
                <a:spLocks/>
              </p:cNvSpPr>
              <p:nvPr/>
            </p:nvSpPr>
            <p:spPr bwMode="auto">
              <a:xfrm>
                <a:off x="7615238" y="3111500"/>
                <a:ext cx="76200" cy="95250"/>
              </a:xfrm>
              <a:custGeom>
                <a:avLst/>
                <a:gdLst>
                  <a:gd name="T0" fmla="*/ 2147483647 w 48"/>
                  <a:gd name="T1" fmla="*/ 2147483647 h 60"/>
                  <a:gd name="T2" fmla="*/ 0 w 48"/>
                  <a:gd name="T3" fmla="*/ 2147483647 h 60"/>
                  <a:gd name="T4" fmla="*/ 2147483647 w 48"/>
                  <a:gd name="T5" fmla="*/ 2147483647 h 60"/>
                  <a:gd name="T6" fmla="*/ 2147483647 w 48"/>
                  <a:gd name="T7" fmla="*/ 2147483647 h 60"/>
                  <a:gd name="T8" fmla="*/ 2147483647 w 48"/>
                  <a:gd name="T9" fmla="*/ 2147483647 h 60"/>
                  <a:gd name="T10" fmla="*/ 2147483647 w 48"/>
                  <a:gd name="T11" fmla="*/ 0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0"/>
                  <a:gd name="T20" fmla="*/ 48 w 48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0">
                    <a:moveTo>
                      <a:pt x="8" y="15"/>
                    </a:moveTo>
                    <a:lnTo>
                      <a:pt x="0" y="38"/>
                    </a:lnTo>
                    <a:lnTo>
                      <a:pt x="8" y="56"/>
                    </a:lnTo>
                    <a:lnTo>
                      <a:pt x="36" y="60"/>
                    </a:lnTo>
                    <a:lnTo>
                      <a:pt x="48" y="45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5" name="Freeform 52"/>
              <p:cNvSpPr>
                <a:spLocks/>
              </p:cNvSpPr>
              <p:nvPr/>
            </p:nvSpPr>
            <p:spPr bwMode="auto">
              <a:xfrm>
                <a:off x="7694613" y="3086100"/>
                <a:ext cx="87312" cy="58738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6" name="Freeform 53"/>
              <p:cNvSpPr>
                <a:spLocks/>
              </p:cNvSpPr>
              <p:nvPr/>
            </p:nvSpPr>
            <p:spPr bwMode="auto">
              <a:xfrm>
                <a:off x="7639050" y="3014663"/>
                <a:ext cx="80963" cy="66675"/>
              </a:xfrm>
              <a:custGeom>
                <a:avLst/>
                <a:gdLst>
                  <a:gd name="T0" fmla="*/ 2147483647 w 51"/>
                  <a:gd name="T1" fmla="*/ 2147483647 h 42"/>
                  <a:gd name="T2" fmla="*/ 2147483647 w 51"/>
                  <a:gd name="T3" fmla="*/ 2147483647 h 42"/>
                  <a:gd name="T4" fmla="*/ 2147483647 w 51"/>
                  <a:gd name="T5" fmla="*/ 0 h 42"/>
                  <a:gd name="T6" fmla="*/ 2147483647 w 51"/>
                  <a:gd name="T7" fmla="*/ 0 h 42"/>
                  <a:gd name="T8" fmla="*/ 2147483647 w 51"/>
                  <a:gd name="T9" fmla="*/ 2147483647 h 42"/>
                  <a:gd name="T10" fmla="*/ 0 w 51"/>
                  <a:gd name="T11" fmla="*/ 2147483647 h 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1"/>
                  <a:gd name="T19" fmla="*/ 0 h 42"/>
                  <a:gd name="T20" fmla="*/ 51 w 51"/>
                  <a:gd name="T21" fmla="*/ 42 h 4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1" h="42">
                    <a:moveTo>
                      <a:pt x="45" y="42"/>
                    </a:moveTo>
                    <a:lnTo>
                      <a:pt x="51" y="10"/>
                    </a:lnTo>
                    <a:lnTo>
                      <a:pt x="36" y="0"/>
                    </a:lnTo>
                    <a:lnTo>
                      <a:pt x="14" y="0"/>
                    </a:lnTo>
                    <a:lnTo>
                      <a:pt x="2" y="13"/>
                    </a:lnTo>
                    <a:lnTo>
                      <a:pt x="0" y="39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7" name="Freeform 54"/>
              <p:cNvSpPr>
                <a:spLocks/>
              </p:cNvSpPr>
              <p:nvPr/>
            </p:nvSpPr>
            <p:spPr bwMode="auto">
              <a:xfrm>
                <a:off x="7556500" y="3068638"/>
                <a:ext cx="76200" cy="69850"/>
              </a:xfrm>
              <a:custGeom>
                <a:avLst/>
                <a:gdLst>
                  <a:gd name="T0" fmla="*/ 2147483647 w 48"/>
                  <a:gd name="T1" fmla="*/ 2147483647 h 44"/>
                  <a:gd name="T2" fmla="*/ 2147483647 w 48"/>
                  <a:gd name="T3" fmla="*/ 2147483647 h 44"/>
                  <a:gd name="T4" fmla="*/ 2147483647 w 48"/>
                  <a:gd name="T5" fmla="*/ 2147483647 h 44"/>
                  <a:gd name="T6" fmla="*/ 2147483647 w 48"/>
                  <a:gd name="T7" fmla="*/ 2147483647 h 44"/>
                  <a:gd name="T8" fmla="*/ 0 w 48"/>
                  <a:gd name="T9" fmla="*/ 2147483647 h 44"/>
                  <a:gd name="T10" fmla="*/ 2147483647 w 48"/>
                  <a:gd name="T11" fmla="*/ 2147483647 h 44"/>
                  <a:gd name="T12" fmla="*/ 2147483647 w 48"/>
                  <a:gd name="T13" fmla="*/ 0 h 44"/>
                  <a:gd name="T14" fmla="*/ 2147483647 w 48"/>
                  <a:gd name="T15" fmla="*/ 2147483647 h 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8"/>
                  <a:gd name="T25" fmla="*/ 0 h 44"/>
                  <a:gd name="T26" fmla="*/ 48 w 48"/>
                  <a:gd name="T27" fmla="*/ 44 h 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8" h="44">
                    <a:moveTo>
                      <a:pt x="43" y="41"/>
                    </a:moveTo>
                    <a:lnTo>
                      <a:pt x="19" y="44"/>
                    </a:lnTo>
                    <a:lnTo>
                      <a:pt x="6" y="42"/>
                    </a:lnTo>
                    <a:lnTo>
                      <a:pt x="1" y="29"/>
                    </a:lnTo>
                    <a:lnTo>
                      <a:pt x="0" y="14"/>
                    </a:lnTo>
                    <a:lnTo>
                      <a:pt x="4" y="2"/>
                    </a:lnTo>
                    <a:lnTo>
                      <a:pt x="19" y="0"/>
                    </a:lnTo>
                    <a:lnTo>
                      <a:pt x="48" y="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8" name="Freeform 55"/>
              <p:cNvSpPr>
                <a:spLocks/>
              </p:cNvSpPr>
              <p:nvPr/>
            </p:nvSpPr>
            <p:spPr bwMode="auto">
              <a:xfrm>
                <a:off x="7442200" y="2962275"/>
                <a:ext cx="196850" cy="111125"/>
              </a:xfrm>
              <a:custGeom>
                <a:avLst/>
                <a:gdLst>
                  <a:gd name="T0" fmla="*/ 2147483647 w 124"/>
                  <a:gd name="T1" fmla="*/ 2147483647 h 70"/>
                  <a:gd name="T2" fmla="*/ 2147483647 w 124"/>
                  <a:gd name="T3" fmla="*/ 2147483647 h 70"/>
                  <a:gd name="T4" fmla="*/ 0 w 124"/>
                  <a:gd name="T5" fmla="*/ 0 h 70"/>
                  <a:gd name="T6" fmla="*/ 0 60000 65536"/>
                  <a:gd name="T7" fmla="*/ 0 60000 65536"/>
                  <a:gd name="T8" fmla="*/ 0 60000 65536"/>
                  <a:gd name="T9" fmla="*/ 0 w 124"/>
                  <a:gd name="T10" fmla="*/ 0 h 70"/>
                  <a:gd name="T11" fmla="*/ 124 w 124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4" h="70">
                    <a:moveTo>
                      <a:pt x="124" y="70"/>
                    </a:moveTo>
                    <a:lnTo>
                      <a:pt x="112" y="66"/>
                    </a:lnTo>
                    <a:lnTo>
                      <a:pt x="0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49" name="Freeform 56"/>
              <p:cNvSpPr>
                <a:spLocks/>
              </p:cNvSpPr>
              <p:nvPr/>
            </p:nvSpPr>
            <p:spPr bwMode="auto">
              <a:xfrm>
                <a:off x="7686675" y="3121025"/>
                <a:ext cx="150813" cy="111125"/>
              </a:xfrm>
              <a:custGeom>
                <a:avLst/>
                <a:gdLst>
                  <a:gd name="T0" fmla="*/ 0 w 95"/>
                  <a:gd name="T1" fmla="*/ 0 h 70"/>
                  <a:gd name="T2" fmla="*/ 2147483647 w 95"/>
                  <a:gd name="T3" fmla="*/ 2147483647 h 70"/>
                  <a:gd name="T4" fmla="*/ 2147483647 w 95"/>
                  <a:gd name="T5" fmla="*/ 2147483647 h 70"/>
                  <a:gd name="T6" fmla="*/ 0 60000 65536"/>
                  <a:gd name="T7" fmla="*/ 0 60000 65536"/>
                  <a:gd name="T8" fmla="*/ 0 60000 65536"/>
                  <a:gd name="T9" fmla="*/ 0 w 95"/>
                  <a:gd name="T10" fmla="*/ 0 h 70"/>
                  <a:gd name="T11" fmla="*/ 95 w 95"/>
                  <a:gd name="T12" fmla="*/ 70 h 7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5" h="70">
                    <a:moveTo>
                      <a:pt x="0" y="0"/>
                    </a:moveTo>
                    <a:lnTo>
                      <a:pt x="32" y="35"/>
                    </a:lnTo>
                    <a:lnTo>
                      <a:pt x="95" y="7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0" name="Freeform 57"/>
              <p:cNvSpPr>
                <a:spLocks/>
              </p:cNvSpPr>
              <p:nvPr/>
            </p:nvSpPr>
            <p:spPr bwMode="auto">
              <a:xfrm>
                <a:off x="8759825" y="4137025"/>
                <a:ext cx="73025" cy="279400"/>
              </a:xfrm>
              <a:custGeom>
                <a:avLst/>
                <a:gdLst>
                  <a:gd name="T0" fmla="*/ 2147483647 w 46"/>
                  <a:gd name="T1" fmla="*/ 0 h 176"/>
                  <a:gd name="T2" fmla="*/ 2147483647 w 46"/>
                  <a:gd name="T3" fmla="*/ 2147483647 h 176"/>
                  <a:gd name="T4" fmla="*/ 2147483647 w 46"/>
                  <a:gd name="T5" fmla="*/ 2147483647 h 176"/>
                  <a:gd name="T6" fmla="*/ 0 w 46"/>
                  <a:gd name="T7" fmla="*/ 2147483647 h 176"/>
                  <a:gd name="T8" fmla="*/ 2147483647 w 46"/>
                  <a:gd name="T9" fmla="*/ 2147483647 h 176"/>
                  <a:gd name="T10" fmla="*/ 2147483647 w 46"/>
                  <a:gd name="T11" fmla="*/ 2147483647 h 176"/>
                  <a:gd name="T12" fmla="*/ 2147483647 w 46"/>
                  <a:gd name="T13" fmla="*/ 2147483647 h 1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6"/>
                  <a:gd name="T22" fmla="*/ 0 h 176"/>
                  <a:gd name="T23" fmla="*/ 46 w 46"/>
                  <a:gd name="T24" fmla="*/ 176 h 1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6" h="176">
                    <a:moveTo>
                      <a:pt x="46" y="0"/>
                    </a:moveTo>
                    <a:lnTo>
                      <a:pt x="14" y="40"/>
                    </a:lnTo>
                    <a:lnTo>
                      <a:pt x="4" y="70"/>
                    </a:lnTo>
                    <a:lnTo>
                      <a:pt x="0" y="90"/>
                    </a:lnTo>
                    <a:lnTo>
                      <a:pt x="4" y="110"/>
                    </a:lnTo>
                    <a:lnTo>
                      <a:pt x="10" y="144"/>
                    </a:lnTo>
                    <a:lnTo>
                      <a:pt x="34" y="176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1" name="Freeform 58"/>
              <p:cNvSpPr>
                <a:spLocks/>
              </p:cNvSpPr>
              <p:nvPr/>
            </p:nvSpPr>
            <p:spPr bwMode="auto">
              <a:xfrm>
                <a:off x="8548688" y="4117975"/>
                <a:ext cx="36512" cy="144463"/>
              </a:xfrm>
              <a:custGeom>
                <a:avLst/>
                <a:gdLst>
                  <a:gd name="T0" fmla="*/ 2147483647 w 23"/>
                  <a:gd name="T1" fmla="*/ 0 h 91"/>
                  <a:gd name="T2" fmla="*/ 2147483647 w 23"/>
                  <a:gd name="T3" fmla="*/ 2147483647 h 91"/>
                  <a:gd name="T4" fmla="*/ 2147483647 w 23"/>
                  <a:gd name="T5" fmla="*/ 2147483647 h 91"/>
                  <a:gd name="T6" fmla="*/ 2147483647 w 23"/>
                  <a:gd name="T7" fmla="*/ 2147483647 h 91"/>
                  <a:gd name="T8" fmla="*/ 0 w 23"/>
                  <a:gd name="T9" fmla="*/ 2147483647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91"/>
                  <a:gd name="T17" fmla="*/ 23 w 23"/>
                  <a:gd name="T18" fmla="*/ 91 h 9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91">
                    <a:moveTo>
                      <a:pt x="11" y="0"/>
                    </a:moveTo>
                    <a:lnTo>
                      <a:pt x="23" y="48"/>
                    </a:lnTo>
                    <a:lnTo>
                      <a:pt x="19" y="62"/>
                    </a:lnTo>
                    <a:lnTo>
                      <a:pt x="15" y="76"/>
                    </a:lnTo>
                    <a:lnTo>
                      <a:pt x="0" y="91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2" name="Freeform 59"/>
              <p:cNvSpPr>
                <a:spLocks/>
              </p:cNvSpPr>
              <p:nvPr/>
            </p:nvSpPr>
            <p:spPr bwMode="auto">
              <a:xfrm rot="-6024320">
                <a:off x="8613775" y="4138613"/>
                <a:ext cx="87313" cy="58737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3" name="Freeform 60"/>
              <p:cNvSpPr>
                <a:spLocks/>
              </p:cNvSpPr>
              <p:nvPr/>
            </p:nvSpPr>
            <p:spPr bwMode="auto">
              <a:xfrm>
                <a:off x="8629650" y="4254500"/>
                <a:ext cx="77788" cy="98425"/>
              </a:xfrm>
              <a:custGeom>
                <a:avLst/>
                <a:gdLst>
                  <a:gd name="T0" fmla="*/ 2147483647 w 49"/>
                  <a:gd name="T1" fmla="*/ 2147483647 h 62"/>
                  <a:gd name="T2" fmla="*/ 2147483647 w 49"/>
                  <a:gd name="T3" fmla="*/ 2147483647 h 62"/>
                  <a:gd name="T4" fmla="*/ 2147483647 w 49"/>
                  <a:gd name="T5" fmla="*/ 2147483647 h 62"/>
                  <a:gd name="T6" fmla="*/ 2147483647 w 49"/>
                  <a:gd name="T7" fmla="*/ 2147483647 h 62"/>
                  <a:gd name="T8" fmla="*/ 2147483647 w 49"/>
                  <a:gd name="T9" fmla="*/ 2147483647 h 62"/>
                  <a:gd name="T10" fmla="*/ 2147483647 w 49"/>
                  <a:gd name="T11" fmla="*/ 2147483647 h 62"/>
                  <a:gd name="T12" fmla="*/ 2147483647 w 49"/>
                  <a:gd name="T13" fmla="*/ 2147483647 h 62"/>
                  <a:gd name="T14" fmla="*/ 2147483647 w 49"/>
                  <a:gd name="T15" fmla="*/ 2147483647 h 62"/>
                  <a:gd name="T16" fmla="*/ 0 w 49"/>
                  <a:gd name="T17" fmla="*/ 2147483647 h 62"/>
                  <a:gd name="T18" fmla="*/ 2147483647 w 49"/>
                  <a:gd name="T19" fmla="*/ 0 h 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9"/>
                  <a:gd name="T31" fmla="*/ 0 h 62"/>
                  <a:gd name="T32" fmla="*/ 49 w 49"/>
                  <a:gd name="T33" fmla="*/ 62 h 6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9" h="62">
                    <a:moveTo>
                      <a:pt x="32" y="4"/>
                    </a:moveTo>
                    <a:lnTo>
                      <a:pt x="44" y="20"/>
                    </a:lnTo>
                    <a:lnTo>
                      <a:pt x="49" y="37"/>
                    </a:lnTo>
                    <a:lnTo>
                      <a:pt x="49" y="51"/>
                    </a:lnTo>
                    <a:lnTo>
                      <a:pt x="38" y="58"/>
                    </a:lnTo>
                    <a:lnTo>
                      <a:pt x="23" y="62"/>
                    </a:lnTo>
                    <a:lnTo>
                      <a:pt x="10" y="60"/>
                    </a:lnTo>
                    <a:lnTo>
                      <a:pt x="6" y="45"/>
                    </a:lnTo>
                    <a:lnTo>
                      <a:pt x="0" y="22"/>
                    </a:lnTo>
                    <a:lnTo>
                      <a:pt x="8" y="0"/>
                    </a:lnTo>
                  </a:path>
                </a:pathLst>
              </a:cu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4" name="Freeform 62"/>
              <p:cNvSpPr>
                <a:spLocks/>
              </p:cNvSpPr>
              <p:nvPr/>
            </p:nvSpPr>
            <p:spPr bwMode="auto">
              <a:xfrm>
                <a:off x="6003925" y="2643188"/>
                <a:ext cx="3063875" cy="1944687"/>
              </a:xfrm>
              <a:custGeom>
                <a:avLst/>
                <a:gdLst>
                  <a:gd name="T0" fmla="*/ 0 w 9517"/>
                  <a:gd name="T1" fmla="*/ 2147483647 h 9976"/>
                  <a:gd name="T2" fmla="*/ 2147483647 w 9517"/>
                  <a:gd name="T3" fmla="*/ 2147483647 h 9976"/>
                  <a:gd name="T4" fmla="*/ 2147483647 w 9517"/>
                  <a:gd name="T5" fmla="*/ 2147483647 h 9976"/>
                  <a:gd name="T6" fmla="*/ 2147483647 w 9517"/>
                  <a:gd name="T7" fmla="*/ 2147483647 h 9976"/>
                  <a:gd name="T8" fmla="*/ 2147483647 w 9517"/>
                  <a:gd name="T9" fmla="*/ 2147483647 h 9976"/>
                  <a:gd name="T10" fmla="*/ 2147483647 w 9517"/>
                  <a:gd name="T11" fmla="*/ 2147483647 h 9976"/>
                  <a:gd name="T12" fmla="*/ 2147483647 w 9517"/>
                  <a:gd name="T13" fmla="*/ 2147483647 h 9976"/>
                  <a:gd name="T14" fmla="*/ 2147483647 w 9517"/>
                  <a:gd name="T15" fmla="*/ 2147483647 h 9976"/>
                  <a:gd name="T16" fmla="*/ 2147483647 w 9517"/>
                  <a:gd name="T17" fmla="*/ 2147483647 h 9976"/>
                  <a:gd name="T18" fmla="*/ 2147483647 w 9517"/>
                  <a:gd name="T19" fmla="*/ 2147483647 h 9976"/>
                  <a:gd name="T20" fmla="*/ 2147483647 w 9517"/>
                  <a:gd name="T21" fmla="*/ 2147483647 h 9976"/>
                  <a:gd name="T22" fmla="*/ 2147483647 w 9517"/>
                  <a:gd name="T23" fmla="*/ 2147483647 h 9976"/>
                  <a:gd name="T24" fmla="*/ 2147483647 w 9517"/>
                  <a:gd name="T25" fmla="*/ 2147483647 h 9976"/>
                  <a:gd name="T26" fmla="*/ 2147483647 w 9517"/>
                  <a:gd name="T27" fmla="*/ 2147483647 h 9976"/>
                  <a:gd name="T28" fmla="*/ 2147483647 w 9517"/>
                  <a:gd name="T29" fmla="*/ 2147483647 h 9976"/>
                  <a:gd name="T30" fmla="*/ 2147483647 w 9517"/>
                  <a:gd name="T31" fmla="*/ 2147483647 h 9976"/>
                  <a:gd name="T32" fmla="*/ 2147483647 w 9517"/>
                  <a:gd name="T33" fmla="*/ 2147483647 h 9976"/>
                  <a:gd name="T34" fmla="*/ 2147483647 w 9517"/>
                  <a:gd name="T35" fmla="*/ 2147483647 h 9976"/>
                  <a:gd name="T36" fmla="*/ 2147483647 w 9517"/>
                  <a:gd name="T37" fmla="*/ 2147483647 h 9976"/>
                  <a:gd name="T38" fmla="*/ 2147483647 w 9517"/>
                  <a:gd name="T39" fmla="*/ 0 h 997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517"/>
                  <a:gd name="T61" fmla="*/ 0 h 9976"/>
                  <a:gd name="T62" fmla="*/ 9517 w 9517"/>
                  <a:gd name="T63" fmla="*/ 9976 h 997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517" h="9976">
                    <a:moveTo>
                      <a:pt x="0" y="9976"/>
                    </a:moveTo>
                    <a:cubicBezTo>
                      <a:pt x="53" y="9862"/>
                      <a:pt x="105" y="9748"/>
                      <a:pt x="158" y="9634"/>
                    </a:cubicBezTo>
                    <a:lnTo>
                      <a:pt x="394" y="9373"/>
                    </a:lnTo>
                    <a:cubicBezTo>
                      <a:pt x="470" y="9254"/>
                      <a:pt x="545" y="9134"/>
                      <a:pt x="621" y="9015"/>
                    </a:cubicBezTo>
                    <a:lnTo>
                      <a:pt x="1154" y="8347"/>
                    </a:lnTo>
                    <a:lnTo>
                      <a:pt x="1479" y="7647"/>
                    </a:lnTo>
                    <a:lnTo>
                      <a:pt x="1736" y="7093"/>
                    </a:lnTo>
                    <a:cubicBezTo>
                      <a:pt x="1844" y="6843"/>
                      <a:pt x="1953" y="6594"/>
                      <a:pt x="2061" y="6344"/>
                    </a:cubicBezTo>
                    <a:lnTo>
                      <a:pt x="2318" y="5823"/>
                    </a:lnTo>
                    <a:lnTo>
                      <a:pt x="2525" y="5546"/>
                    </a:lnTo>
                    <a:lnTo>
                      <a:pt x="3245" y="4813"/>
                    </a:lnTo>
                    <a:lnTo>
                      <a:pt x="3777" y="4064"/>
                    </a:lnTo>
                    <a:lnTo>
                      <a:pt x="4862" y="2745"/>
                    </a:lnTo>
                    <a:lnTo>
                      <a:pt x="5178" y="2338"/>
                    </a:lnTo>
                    <a:lnTo>
                      <a:pt x="5631" y="1882"/>
                    </a:lnTo>
                    <a:lnTo>
                      <a:pt x="5888" y="1491"/>
                    </a:lnTo>
                    <a:lnTo>
                      <a:pt x="6361" y="1100"/>
                    </a:lnTo>
                    <a:lnTo>
                      <a:pt x="7535" y="644"/>
                    </a:lnTo>
                    <a:lnTo>
                      <a:pt x="8876" y="253"/>
                    </a:lnTo>
                    <a:lnTo>
                      <a:pt x="9517" y="0"/>
                    </a:ln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5" name="Freeform 65"/>
              <p:cNvSpPr>
                <a:spLocks/>
              </p:cNvSpPr>
              <p:nvPr/>
            </p:nvSpPr>
            <p:spPr bwMode="auto">
              <a:xfrm>
                <a:off x="3270250" y="5207000"/>
                <a:ext cx="790575" cy="285750"/>
              </a:xfrm>
              <a:custGeom>
                <a:avLst/>
                <a:gdLst>
                  <a:gd name="T0" fmla="*/ 0 w 498"/>
                  <a:gd name="T1" fmla="*/ 2147483647 h 180"/>
                  <a:gd name="T2" fmla="*/ 2147483647 w 498"/>
                  <a:gd name="T3" fmla="*/ 2147483647 h 180"/>
                  <a:gd name="T4" fmla="*/ 2147483647 w 498"/>
                  <a:gd name="T5" fmla="*/ 2147483647 h 180"/>
                  <a:gd name="T6" fmla="*/ 2147483647 w 498"/>
                  <a:gd name="T7" fmla="*/ 0 h 1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98"/>
                  <a:gd name="T13" fmla="*/ 0 h 180"/>
                  <a:gd name="T14" fmla="*/ 498 w 498"/>
                  <a:gd name="T15" fmla="*/ 180 h 1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98" h="180">
                    <a:moveTo>
                      <a:pt x="0" y="180"/>
                    </a:moveTo>
                    <a:lnTo>
                      <a:pt x="124" y="128"/>
                    </a:lnTo>
                    <a:lnTo>
                      <a:pt x="218" y="90"/>
                    </a:lnTo>
                    <a:lnTo>
                      <a:pt x="498" y="0"/>
                    </a:ln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6" name="Freeform 126"/>
              <p:cNvSpPr>
                <a:spLocks/>
              </p:cNvSpPr>
              <p:nvPr/>
            </p:nvSpPr>
            <p:spPr bwMode="auto">
              <a:xfrm>
                <a:off x="2416175" y="3517900"/>
                <a:ext cx="215900" cy="152400"/>
              </a:xfrm>
              <a:custGeom>
                <a:avLst/>
                <a:gdLst>
                  <a:gd name="T0" fmla="*/ 2147483647 w 136"/>
                  <a:gd name="T1" fmla="*/ 0 h 96"/>
                  <a:gd name="T2" fmla="*/ 2147483647 w 136"/>
                  <a:gd name="T3" fmla="*/ 2147483647 h 96"/>
                  <a:gd name="T4" fmla="*/ 2147483647 w 136"/>
                  <a:gd name="T5" fmla="*/ 2147483647 h 96"/>
                  <a:gd name="T6" fmla="*/ 2147483647 w 136"/>
                  <a:gd name="T7" fmla="*/ 2147483647 h 96"/>
                  <a:gd name="T8" fmla="*/ 0 w 136"/>
                  <a:gd name="T9" fmla="*/ 2147483647 h 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6"/>
                  <a:gd name="T16" fmla="*/ 0 h 96"/>
                  <a:gd name="T17" fmla="*/ 136 w 136"/>
                  <a:gd name="T18" fmla="*/ 96 h 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6" h="96">
                    <a:moveTo>
                      <a:pt x="136" y="0"/>
                    </a:moveTo>
                    <a:lnTo>
                      <a:pt x="68" y="32"/>
                    </a:lnTo>
                    <a:lnTo>
                      <a:pt x="40" y="52"/>
                    </a:lnTo>
                    <a:lnTo>
                      <a:pt x="22" y="64"/>
                    </a:lnTo>
                    <a:lnTo>
                      <a:pt x="0" y="96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7" name="Freeform 127"/>
              <p:cNvSpPr>
                <a:spLocks/>
              </p:cNvSpPr>
              <p:nvPr/>
            </p:nvSpPr>
            <p:spPr bwMode="auto">
              <a:xfrm>
                <a:off x="2209800" y="3429000"/>
                <a:ext cx="193675" cy="219075"/>
              </a:xfrm>
              <a:custGeom>
                <a:avLst/>
                <a:gdLst>
                  <a:gd name="T0" fmla="*/ 0 w 12709"/>
                  <a:gd name="T1" fmla="*/ 0 h 12545"/>
                  <a:gd name="T2" fmla="*/ 2147483647 w 12709"/>
                  <a:gd name="T3" fmla="*/ 2147483647 h 12545"/>
                  <a:gd name="T4" fmla="*/ 2147483647 w 12709"/>
                  <a:gd name="T5" fmla="*/ 2147483647 h 12545"/>
                  <a:gd name="T6" fmla="*/ 2147483647 w 12709"/>
                  <a:gd name="T7" fmla="*/ 2147483647 h 1254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709"/>
                  <a:gd name="T13" fmla="*/ 0 h 12545"/>
                  <a:gd name="T14" fmla="*/ 12709 w 12709"/>
                  <a:gd name="T15" fmla="*/ 12545 h 1254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709" h="12545">
                    <a:moveTo>
                      <a:pt x="0" y="0"/>
                    </a:moveTo>
                    <a:lnTo>
                      <a:pt x="6876" y="5090"/>
                    </a:lnTo>
                    <a:lnTo>
                      <a:pt x="9376" y="8363"/>
                    </a:lnTo>
                    <a:lnTo>
                      <a:pt x="12709" y="12545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8" name="Freeform 128"/>
              <p:cNvSpPr>
                <a:spLocks/>
              </p:cNvSpPr>
              <p:nvPr/>
            </p:nvSpPr>
            <p:spPr bwMode="auto">
              <a:xfrm rot="-902590">
                <a:off x="2427288" y="3481388"/>
                <a:ext cx="76200" cy="95250"/>
              </a:xfrm>
              <a:custGeom>
                <a:avLst/>
                <a:gdLst>
                  <a:gd name="T0" fmla="*/ 2147483647 w 48"/>
                  <a:gd name="T1" fmla="*/ 2147483647 h 60"/>
                  <a:gd name="T2" fmla="*/ 0 w 48"/>
                  <a:gd name="T3" fmla="*/ 2147483647 h 60"/>
                  <a:gd name="T4" fmla="*/ 2147483647 w 48"/>
                  <a:gd name="T5" fmla="*/ 2147483647 h 60"/>
                  <a:gd name="T6" fmla="*/ 2147483647 w 48"/>
                  <a:gd name="T7" fmla="*/ 2147483647 h 60"/>
                  <a:gd name="T8" fmla="*/ 2147483647 w 48"/>
                  <a:gd name="T9" fmla="*/ 2147483647 h 60"/>
                  <a:gd name="T10" fmla="*/ 2147483647 w 48"/>
                  <a:gd name="T11" fmla="*/ 0 h 6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0"/>
                  <a:gd name="T20" fmla="*/ 48 w 48"/>
                  <a:gd name="T21" fmla="*/ 60 h 6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0">
                    <a:moveTo>
                      <a:pt x="8" y="15"/>
                    </a:moveTo>
                    <a:lnTo>
                      <a:pt x="0" y="38"/>
                    </a:lnTo>
                    <a:lnTo>
                      <a:pt x="8" y="56"/>
                    </a:lnTo>
                    <a:lnTo>
                      <a:pt x="36" y="60"/>
                    </a:lnTo>
                    <a:lnTo>
                      <a:pt x="48" y="45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59" name="Freeform 129"/>
              <p:cNvSpPr>
                <a:spLocks/>
              </p:cNvSpPr>
              <p:nvPr/>
            </p:nvSpPr>
            <p:spPr bwMode="auto">
              <a:xfrm rot="-1039581">
                <a:off x="2336800" y="3481388"/>
                <a:ext cx="74613" cy="49212"/>
              </a:xfrm>
              <a:custGeom>
                <a:avLst/>
                <a:gdLst>
                  <a:gd name="T0" fmla="*/ 2147483647 w 47"/>
                  <a:gd name="T1" fmla="*/ 2147483647 h 31"/>
                  <a:gd name="T2" fmla="*/ 2147483647 w 47"/>
                  <a:gd name="T3" fmla="*/ 2147483647 h 31"/>
                  <a:gd name="T4" fmla="*/ 2147483647 w 47"/>
                  <a:gd name="T5" fmla="*/ 2147483647 h 31"/>
                  <a:gd name="T6" fmla="*/ 2147483647 w 47"/>
                  <a:gd name="T7" fmla="*/ 2147483647 h 31"/>
                  <a:gd name="T8" fmla="*/ 0 w 47"/>
                  <a:gd name="T9" fmla="*/ 2147483647 h 31"/>
                  <a:gd name="T10" fmla="*/ 2147483647 w 47"/>
                  <a:gd name="T11" fmla="*/ 0 h 3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7"/>
                  <a:gd name="T19" fmla="*/ 0 h 31"/>
                  <a:gd name="T20" fmla="*/ 47 w 47"/>
                  <a:gd name="T21" fmla="*/ 31 h 3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7" h="31">
                    <a:moveTo>
                      <a:pt x="43" y="28"/>
                    </a:moveTo>
                    <a:lnTo>
                      <a:pt x="19" y="31"/>
                    </a:lnTo>
                    <a:lnTo>
                      <a:pt x="6" y="29"/>
                    </a:lnTo>
                    <a:lnTo>
                      <a:pt x="1" y="16"/>
                    </a:lnTo>
                    <a:lnTo>
                      <a:pt x="0" y="1"/>
                    </a:lnTo>
                    <a:lnTo>
                      <a:pt x="47" y="0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60" name="Freeform 61"/>
              <p:cNvSpPr>
                <a:spLocks/>
              </p:cNvSpPr>
              <p:nvPr/>
            </p:nvSpPr>
            <p:spPr bwMode="auto">
              <a:xfrm>
                <a:off x="2406650" y="2378075"/>
                <a:ext cx="3502025" cy="3133725"/>
              </a:xfrm>
              <a:custGeom>
                <a:avLst/>
                <a:gdLst>
                  <a:gd name="T0" fmla="*/ 2147483647 w 2206"/>
                  <a:gd name="T1" fmla="*/ 2147483647 h 1974"/>
                  <a:gd name="T2" fmla="*/ 2147483647 w 2206"/>
                  <a:gd name="T3" fmla="*/ 2147483647 h 1974"/>
                  <a:gd name="T4" fmla="*/ 2147483647 w 2206"/>
                  <a:gd name="T5" fmla="*/ 2147483647 h 1974"/>
                  <a:gd name="T6" fmla="*/ 2147483647 w 2206"/>
                  <a:gd name="T7" fmla="*/ 2147483647 h 1974"/>
                  <a:gd name="T8" fmla="*/ 0 w 2206"/>
                  <a:gd name="T9" fmla="*/ 2147483647 h 1974"/>
                  <a:gd name="T10" fmla="*/ 2147483647 w 2206"/>
                  <a:gd name="T11" fmla="*/ 2147483647 h 1974"/>
                  <a:gd name="T12" fmla="*/ 2147483647 w 2206"/>
                  <a:gd name="T13" fmla="*/ 2147483647 h 1974"/>
                  <a:gd name="T14" fmla="*/ 2147483647 w 2206"/>
                  <a:gd name="T15" fmla="*/ 2147483647 h 1974"/>
                  <a:gd name="T16" fmla="*/ 2147483647 w 2206"/>
                  <a:gd name="T17" fmla="*/ 2147483647 h 1974"/>
                  <a:gd name="T18" fmla="*/ 2147483647 w 2206"/>
                  <a:gd name="T19" fmla="*/ 2147483647 h 1974"/>
                  <a:gd name="T20" fmla="*/ 2147483647 w 2206"/>
                  <a:gd name="T21" fmla="*/ 2147483647 h 1974"/>
                  <a:gd name="T22" fmla="*/ 2147483647 w 2206"/>
                  <a:gd name="T23" fmla="*/ 2147483647 h 1974"/>
                  <a:gd name="T24" fmla="*/ 2147483647 w 2206"/>
                  <a:gd name="T25" fmla="*/ 2147483647 h 1974"/>
                  <a:gd name="T26" fmla="*/ 2147483647 w 2206"/>
                  <a:gd name="T27" fmla="*/ 2147483647 h 1974"/>
                  <a:gd name="T28" fmla="*/ 2147483647 w 2206"/>
                  <a:gd name="T29" fmla="*/ 2147483647 h 1974"/>
                  <a:gd name="T30" fmla="*/ 2147483647 w 2206"/>
                  <a:gd name="T31" fmla="*/ 2147483647 h 1974"/>
                  <a:gd name="T32" fmla="*/ 2147483647 w 2206"/>
                  <a:gd name="T33" fmla="*/ 2147483647 h 1974"/>
                  <a:gd name="T34" fmla="*/ 2147483647 w 2206"/>
                  <a:gd name="T35" fmla="*/ 2147483647 h 1974"/>
                  <a:gd name="T36" fmla="*/ 2147483647 w 2206"/>
                  <a:gd name="T37" fmla="*/ 2147483647 h 1974"/>
                  <a:gd name="T38" fmla="*/ 2147483647 w 2206"/>
                  <a:gd name="T39" fmla="*/ 2147483647 h 1974"/>
                  <a:gd name="T40" fmla="*/ 2147483647 w 2206"/>
                  <a:gd name="T41" fmla="*/ 2147483647 h 1974"/>
                  <a:gd name="T42" fmla="*/ 2147483647 w 2206"/>
                  <a:gd name="T43" fmla="*/ 2147483647 h 1974"/>
                  <a:gd name="T44" fmla="*/ 2147483647 w 2206"/>
                  <a:gd name="T45" fmla="*/ 2147483647 h 1974"/>
                  <a:gd name="T46" fmla="*/ 2147483647 w 2206"/>
                  <a:gd name="T47" fmla="*/ 2147483647 h 1974"/>
                  <a:gd name="T48" fmla="*/ 2147483647 w 2206"/>
                  <a:gd name="T49" fmla="*/ 2147483647 h 1974"/>
                  <a:gd name="T50" fmla="*/ 2147483647 w 2206"/>
                  <a:gd name="T51" fmla="*/ 2147483647 h 1974"/>
                  <a:gd name="T52" fmla="*/ 2147483647 w 2206"/>
                  <a:gd name="T53" fmla="*/ 2147483647 h 1974"/>
                  <a:gd name="T54" fmla="*/ 2147483647 w 2206"/>
                  <a:gd name="T55" fmla="*/ 2147483647 h 1974"/>
                  <a:gd name="T56" fmla="*/ 2147483647 w 2206"/>
                  <a:gd name="T57" fmla="*/ 2147483647 h 1974"/>
                  <a:gd name="T58" fmla="*/ 2147483647 w 2206"/>
                  <a:gd name="T59" fmla="*/ 2147483647 h 1974"/>
                  <a:gd name="T60" fmla="*/ 2147483647 w 2206"/>
                  <a:gd name="T61" fmla="*/ 0 h 1974"/>
                  <a:gd name="T62" fmla="*/ 2147483647 w 2206"/>
                  <a:gd name="T63" fmla="*/ 2147483647 h 1974"/>
                  <a:gd name="T64" fmla="*/ 2147483647 w 2206"/>
                  <a:gd name="T65" fmla="*/ 2147483647 h 1974"/>
                  <a:gd name="T66" fmla="*/ 2147483647 w 2206"/>
                  <a:gd name="T67" fmla="*/ 2147483647 h 1974"/>
                  <a:gd name="T68" fmla="*/ 2147483647 w 2206"/>
                  <a:gd name="T69" fmla="*/ 2147483647 h 1974"/>
                  <a:gd name="T70" fmla="*/ 2147483647 w 2206"/>
                  <a:gd name="T71" fmla="*/ 2147483647 h 1974"/>
                  <a:gd name="T72" fmla="*/ 2147483647 w 2206"/>
                  <a:gd name="T73" fmla="*/ 0 h 1974"/>
                  <a:gd name="T74" fmla="*/ 2147483647 w 2206"/>
                  <a:gd name="T75" fmla="*/ 0 h 1974"/>
                  <a:gd name="T76" fmla="*/ 2147483647 w 2206"/>
                  <a:gd name="T77" fmla="*/ 2147483647 h 1974"/>
                  <a:gd name="T78" fmla="*/ 2147483647 w 2206"/>
                  <a:gd name="T79" fmla="*/ 2147483647 h 1974"/>
                  <a:gd name="T80" fmla="*/ 2147483647 w 2206"/>
                  <a:gd name="T81" fmla="*/ 2147483647 h 1974"/>
                  <a:gd name="T82" fmla="*/ 2147483647 w 2206"/>
                  <a:gd name="T83" fmla="*/ 2147483647 h 1974"/>
                  <a:gd name="T84" fmla="*/ 2147483647 w 2206"/>
                  <a:gd name="T85" fmla="*/ 2147483647 h 197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206"/>
                  <a:gd name="T130" fmla="*/ 0 h 1974"/>
                  <a:gd name="T131" fmla="*/ 2206 w 2206"/>
                  <a:gd name="T132" fmla="*/ 1974 h 197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206" h="1974">
                    <a:moveTo>
                      <a:pt x="43" y="1974"/>
                    </a:moveTo>
                    <a:cubicBezTo>
                      <a:pt x="45" y="1965"/>
                      <a:pt x="47" y="1955"/>
                      <a:pt x="49" y="1946"/>
                    </a:cubicBezTo>
                    <a:cubicBezTo>
                      <a:pt x="51" y="1930"/>
                      <a:pt x="54" y="1915"/>
                      <a:pt x="56" y="1899"/>
                    </a:cubicBezTo>
                    <a:lnTo>
                      <a:pt x="68" y="1731"/>
                    </a:lnTo>
                    <a:cubicBezTo>
                      <a:pt x="45" y="1397"/>
                      <a:pt x="23" y="1064"/>
                      <a:pt x="0" y="730"/>
                    </a:cubicBezTo>
                    <a:cubicBezTo>
                      <a:pt x="21" y="679"/>
                      <a:pt x="43" y="629"/>
                      <a:pt x="64" y="578"/>
                    </a:cubicBezTo>
                    <a:lnTo>
                      <a:pt x="98" y="550"/>
                    </a:lnTo>
                    <a:lnTo>
                      <a:pt x="136" y="524"/>
                    </a:lnTo>
                    <a:cubicBezTo>
                      <a:pt x="147" y="517"/>
                      <a:pt x="159" y="509"/>
                      <a:pt x="170" y="502"/>
                    </a:cubicBezTo>
                    <a:lnTo>
                      <a:pt x="206" y="484"/>
                    </a:lnTo>
                    <a:lnTo>
                      <a:pt x="254" y="460"/>
                    </a:lnTo>
                    <a:cubicBezTo>
                      <a:pt x="267" y="453"/>
                      <a:pt x="281" y="447"/>
                      <a:pt x="294" y="440"/>
                    </a:cubicBezTo>
                    <a:lnTo>
                      <a:pt x="364" y="412"/>
                    </a:lnTo>
                    <a:lnTo>
                      <a:pt x="476" y="394"/>
                    </a:lnTo>
                    <a:lnTo>
                      <a:pt x="528" y="370"/>
                    </a:lnTo>
                    <a:cubicBezTo>
                      <a:pt x="541" y="363"/>
                      <a:pt x="555" y="355"/>
                      <a:pt x="568" y="348"/>
                    </a:cubicBezTo>
                    <a:cubicBezTo>
                      <a:pt x="583" y="341"/>
                      <a:pt x="599" y="333"/>
                      <a:pt x="614" y="326"/>
                    </a:cubicBezTo>
                    <a:cubicBezTo>
                      <a:pt x="631" y="319"/>
                      <a:pt x="647" y="311"/>
                      <a:pt x="664" y="304"/>
                    </a:cubicBezTo>
                    <a:cubicBezTo>
                      <a:pt x="696" y="293"/>
                      <a:pt x="728" y="281"/>
                      <a:pt x="760" y="270"/>
                    </a:cubicBezTo>
                    <a:lnTo>
                      <a:pt x="862" y="228"/>
                    </a:lnTo>
                    <a:lnTo>
                      <a:pt x="964" y="196"/>
                    </a:lnTo>
                    <a:cubicBezTo>
                      <a:pt x="980" y="187"/>
                      <a:pt x="996" y="179"/>
                      <a:pt x="1012" y="170"/>
                    </a:cubicBezTo>
                    <a:cubicBezTo>
                      <a:pt x="1029" y="165"/>
                      <a:pt x="1047" y="159"/>
                      <a:pt x="1064" y="154"/>
                    </a:cubicBezTo>
                    <a:cubicBezTo>
                      <a:pt x="1078" y="149"/>
                      <a:pt x="1092" y="143"/>
                      <a:pt x="1106" y="138"/>
                    </a:cubicBezTo>
                    <a:lnTo>
                      <a:pt x="1174" y="114"/>
                    </a:lnTo>
                    <a:cubicBezTo>
                      <a:pt x="1200" y="99"/>
                      <a:pt x="1226" y="83"/>
                      <a:pt x="1252" y="68"/>
                    </a:cubicBezTo>
                    <a:lnTo>
                      <a:pt x="1326" y="36"/>
                    </a:lnTo>
                    <a:cubicBezTo>
                      <a:pt x="1341" y="29"/>
                      <a:pt x="1355" y="23"/>
                      <a:pt x="1370" y="16"/>
                    </a:cubicBezTo>
                    <a:cubicBezTo>
                      <a:pt x="1389" y="15"/>
                      <a:pt x="1409" y="13"/>
                      <a:pt x="1428" y="12"/>
                    </a:cubicBezTo>
                    <a:lnTo>
                      <a:pt x="1530" y="10"/>
                    </a:lnTo>
                    <a:cubicBezTo>
                      <a:pt x="1551" y="7"/>
                      <a:pt x="1571" y="3"/>
                      <a:pt x="1592" y="0"/>
                    </a:cubicBezTo>
                    <a:cubicBezTo>
                      <a:pt x="1607" y="1"/>
                      <a:pt x="1623" y="1"/>
                      <a:pt x="1638" y="2"/>
                    </a:cubicBezTo>
                    <a:cubicBezTo>
                      <a:pt x="1655" y="5"/>
                      <a:pt x="1671" y="9"/>
                      <a:pt x="1688" y="12"/>
                    </a:cubicBezTo>
                    <a:cubicBezTo>
                      <a:pt x="1705" y="11"/>
                      <a:pt x="1723" y="11"/>
                      <a:pt x="1740" y="10"/>
                    </a:cubicBezTo>
                    <a:cubicBezTo>
                      <a:pt x="1748" y="9"/>
                      <a:pt x="1756" y="7"/>
                      <a:pt x="1764" y="6"/>
                    </a:cubicBezTo>
                    <a:cubicBezTo>
                      <a:pt x="1781" y="5"/>
                      <a:pt x="1797" y="5"/>
                      <a:pt x="1814" y="4"/>
                    </a:cubicBezTo>
                    <a:cubicBezTo>
                      <a:pt x="1832" y="3"/>
                      <a:pt x="1850" y="1"/>
                      <a:pt x="1868" y="0"/>
                    </a:cubicBezTo>
                    <a:lnTo>
                      <a:pt x="1910" y="0"/>
                    </a:lnTo>
                    <a:cubicBezTo>
                      <a:pt x="1922" y="1"/>
                      <a:pt x="1934" y="3"/>
                      <a:pt x="1946" y="4"/>
                    </a:cubicBezTo>
                    <a:lnTo>
                      <a:pt x="1984" y="4"/>
                    </a:lnTo>
                    <a:lnTo>
                      <a:pt x="2112" y="12"/>
                    </a:lnTo>
                    <a:cubicBezTo>
                      <a:pt x="2129" y="11"/>
                      <a:pt x="2147" y="11"/>
                      <a:pt x="2164" y="10"/>
                    </a:cubicBezTo>
                    <a:lnTo>
                      <a:pt x="2206" y="16"/>
                    </a:lnTo>
                  </a:path>
                </a:pathLst>
              </a:custGeom>
              <a:noFill/>
              <a:ln w="63500">
                <a:solidFill>
                  <a:srgbClr val="00FF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61" name="Freeform 84"/>
              <p:cNvSpPr>
                <a:spLocks/>
              </p:cNvSpPr>
              <p:nvPr/>
            </p:nvSpPr>
            <p:spPr bwMode="auto">
              <a:xfrm>
                <a:off x="6072188" y="4243388"/>
                <a:ext cx="2357437" cy="371475"/>
              </a:xfrm>
              <a:custGeom>
                <a:avLst/>
                <a:gdLst>
                  <a:gd name="T0" fmla="*/ 0 w 1479"/>
                  <a:gd name="T1" fmla="*/ 2147483647 h 234"/>
                  <a:gd name="T2" fmla="*/ 2147483647 w 1479"/>
                  <a:gd name="T3" fmla="*/ 2147483647 h 234"/>
                  <a:gd name="T4" fmla="*/ 2147483647 w 1479"/>
                  <a:gd name="T5" fmla="*/ 2147483647 h 234"/>
                  <a:gd name="T6" fmla="*/ 2147483647 w 1479"/>
                  <a:gd name="T7" fmla="*/ 2147483647 h 234"/>
                  <a:gd name="T8" fmla="*/ 2147483647 w 1479"/>
                  <a:gd name="T9" fmla="*/ 2147483647 h 234"/>
                  <a:gd name="T10" fmla="*/ 2147483647 w 1479"/>
                  <a:gd name="T11" fmla="*/ 2147483647 h 234"/>
                  <a:gd name="T12" fmla="*/ 2147483647 w 1479"/>
                  <a:gd name="T13" fmla="*/ 2147483647 h 234"/>
                  <a:gd name="T14" fmla="*/ 2147483647 w 1479"/>
                  <a:gd name="T15" fmla="*/ 0 h 234"/>
                  <a:gd name="T16" fmla="*/ 2147483647 w 1479"/>
                  <a:gd name="T17" fmla="*/ 2147483647 h 234"/>
                  <a:gd name="T18" fmla="*/ 2147483647 w 1479"/>
                  <a:gd name="T19" fmla="*/ 2147483647 h 23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79"/>
                  <a:gd name="T31" fmla="*/ 0 h 234"/>
                  <a:gd name="T32" fmla="*/ 1479 w 1479"/>
                  <a:gd name="T33" fmla="*/ 234 h 23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79" h="234">
                    <a:moveTo>
                      <a:pt x="0" y="234"/>
                    </a:moveTo>
                    <a:lnTo>
                      <a:pt x="147" y="177"/>
                    </a:lnTo>
                    <a:lnTo>
                      <a:pt x="288" y="135"/>
                    </a:lnTo>
                    <a:lnTo>
                      <a:pt x="474" y="78"/>
                    </a:lnTo>
                    <a:lnTo>
                      <a:pt x="558" y="51"/>
                    </a:lnTo>
                    <a:lnTo>
                      <a:pt x="771" y="27"/>
                    </a:lnTo>
                    <a:lnTo>
                      <a:pt x="942" y="9"/>
                    </a:lnTo>
                    <a:lnTo>
                      <a:pt x="1089" y="0"/>
                    </a:lnTo>
                    <a:lnTo>
                      <a:pt x="1380" y="9"/>
                    </a:lnTo>
                    <a:lnTo>
                      <a:pt x="1479" y="27"/>
                    </a:ln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182005" y="5290665"/>
                <a:ext cx="757818" cy="216937"/>
              </a:xfrm>
              <a:prstGeom prst="rect">
                <a:avLst/>
              </a:prstGeom>
              <a:ln w="6350"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36000" rIns="36000" bIns="0" anchor="ctr" anchorCtr="1"/>
              <a:lstStyle/>
              <a:p>
                <a:pPr algn="ctr">
                  <a:defRPr/>
                </a:pPr>
                <a:r>
                  <a:rPr lang="en-US" sz="7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</a:rPr>
                  <a:t>Bishkek</a:t>
                </a:r>
                <a:endParaRPr lang="ru-RU" sz="7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endParaRPr>
              </a:p>
            </p:txBody>
          </p:sp>
          <p:cxnSp>
            <p:nvCxnSpPr>
              <p:cNvPr id="70" name="Прямая со стрелкой 69"/>
              <p:cNvCxnSpPr/>
              <p:nvPr/>
            </p:nvCxnSpPr>
            <p:spPr>
              <a:xfrm flipH="1" flipV="1">
                <a:off x="143371" y="5590811"/>
                <a:ext cx="757820" cy="44577"/>
              </a:xfrm>
              <a:prstGeom prst="straightConnector1">
                <a:avLst/>
              </a:prstGeom>
              <a:ln w="38100" cmpd="sng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Прямая со стрелкой 70"/>
              <p:cNvCxnSpPr/>
              <p:nvPr/>
            </p:nvCxnSpPr>
            <p:spPr>
              <a:xfrm flipV="1">
                <a:off x="6113793" y="687410"/>
                <a:ext cx="136705" cy="561663"/>
              </a:xfrm>
              <a:prstGeom prst="straightConnector1">
                <a:avLst/>
              </a:prstGeom>
              <a:ln w="38100" cmpd="sng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72" name="Прямоугольник 71"/>
              <p:cNvSpPr/>
              <p:nvPr/>
            </p:nvSpPr>
            <p:spPr>
              <a:xfrm>
                <a:off x="6084075" y="455613"/>
                <a:ext cx="1007452" cy="237741"/>
              </a:xfrm>
              <a:prstGeom prst="rect">
                <a:avLst/>
              </a:prstGeom>
              <a:ln w="6350"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36000" rIns="36000" bIns="0" anchor="ctr" anchorCtr="1"/>
              <a:lstStyle/>
              <a:p>
                <a:pPr algn="ctr">
                  <a:defRPr/>
                </a:pPr>
                <a:r>
                  <a:rPr lang="en-US" sz="7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</a:rPr>
                  <a:t>Kapshagai</a:t>
                </a:r>
                <a:endParaRPr lang="ru-RU" sz="7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endParaRPr>
              </a:p>
            </p:txBody>
          </p:sp>
          <p:sp>
            <p:nvSpPr>
              <p:cNvPr id="4166" name="Полилиния 121"/>
              <p:cNvSpPr>
                <a:spLocks noChangeArrowheads="1"/>
              </p:cNvSpPr>
              <p:nvPr/>
            </p:nvSpPr>
            <p:spPr bwMode="auto">
              <a:xfrm>
                <a:off x="8439150" y="4246563"/>
                <a:ext cx="619125" cy="11112"/>
              </a:xfrm>
              <a:custGeom>
                <a:avLst/>
                <a:gdLst>
                  <a:gd name="T0" fmla="*/ 0 w 619125"/>
                  <a:gd name="T1" fmla="*/ 11112 h 11112"/>
                  <a:gd name="T2" fmla="*/ 485775 w 619125"/>
                  <a:gd name="T3" fmla="*/ 1587 h 11112"/>
                  <a:gd name="T4" fmla="*/ 619125 w 619125"/>
                  <a:gd name="T5" fmla="*/ 1587 h 11112"/>
                  <a:gd name="T6" fmla="*/ 0 60000 65536"/>
                  <a:gd name="T7" fmla="*/ 0 60000 65536"/>
                  <a:gd name="T8" fmla="*/ 0 60000 65536"/>
                  <a:gd name="T9" fmla="*/ 0 w 619125"/>
                  <a:gd name="T10" fmla="*/ 0 h 11112"/>
                  <a:gd name="T11" fmla="*/ 619125 w 619125"/>
                  <a:gd name="T12" fmla="*/ 11112 h 111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19125" h="11112">
                    <a:moveTo>
                      <a:pt x="0" y="11112"/>
                    </a:moveTo>
                    <a:lnTo>
                      <a:pt x="485775" y="1587"/>
                    </a:lnTo>
                    <a:cubicBezTo>
                      <a:pt x="588962" y="0"/>
                      <a:pt x="619125" y="1587"/>
                      <a:pt x="619125" y="1587"/>
                    </a:cubicBez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8387248" y="2298104"/>
                <a:ext cx="818935" cy="262585"/>
              </a:xfrm>
              <a:prstGeom prst="rect">
                <a:avLst/>
              </a:prstGeom>
              <a:ln w="6350"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36000" rIns="36000" bIns="0" anchor="ctr" anchorCtr="1"/>
              <a:lstStyle/>
              <a:p>
                <a:pPr algn="ctr">
                  <a:defRPr/>
                </a:pPr>
                <a:r>
                  <a:rPr lang="en-US" sz="7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</a:rPr>
                  <a:t>KHORGOS</a:t>
                </a:r>
                <a:endParaRPr lang="ru-RU" sz="7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endParaRPr>
              </a:p>
            </p:txBody>
          </p:sp>
          <p:cxnSp>
            <p:nvCxnSpPr>
              <p:cNvPr id="75" name="Прямая со стрелкой 74"/>
              <p:cNvCxnSpPr/>
              <p:nvPr/>
            </p:nvCxnSpPr>
            <p:spPr>
              <a:xfrm flipV="1">
                <a:off x="8458572" y="2547731"/>
                <a:ext cx="600311" cy="89153"/>
              </a:xfrm>
              <a:prstGeom prst="straightConnector1">
                <a:avLst/>
              </a:prstGeom>
              <a:ln w="38100" cmpd="sng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76" name="Прямоугольник 75"/>
              <p:cNvSpPr/>
              <p:nvPr/>
            </p:nvSpPr>
            <p:spPr>
              <a:xfrm>
                <a:off x="8101952" y="4500177"/>
                <a:ext cx="844002" cy="246655"/>
              </a:xfrm>
              <a:prstGeom prst="rect">
                <a:avLst/>
              </a:prstGeom>
              <a:ln w="6350"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36000" rIns="36000" bIns="0" anchor="ctr" anchorCtr="1"/>
              <a:lstStyle/>
              <a:p>
                <a:pPr algn="ctr">
                  <a:defRPr/>
                </a:pPr>
                <a:r>
                  <a:rPr lang="en-US" sz="7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</a:rPr>
                  <a:t>Talgar</a:t>
                </a:r>
                <a:endParaRPr lang="ru-RU" sz="7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</a:endParaRPr>
              </a:p>
            </p:txBody>
          </p:sp>
          <p:cxnSp>
            <p:nvCxnSpPr>
              <p:cNvPr id="77" name="Прямая со стрелкой 76"/>
              <p:cNvCxnSpPr/>
              <p:nvPr/>
            </p:nvCxnSpPr>
            <p:spPr>
              <a:xfrm flipV="1">
                <a:off x="8315924" y="4437769"/>
                <a:ext cx="719185" cy="0"/>
              </a:xfrm>
              <a:prstGeom prst="straightConnector1">
                <a:avLst/>
              </a:prstGeom>
              <a:ln w="38100" cmpd="sng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4171" name="Полилиния 141"/>
              <p:cNvSpPr>
                <a:spLocks noChangeArrowheads="1"/>
              </p:cNvSpPr>
              <p:nvPr/>
            </p:nvSpPr>
            <p:spPr bwMode="auto">
              <a:xfrm>
                <a:off x="5957888" y="2457450"/>
                <a:ext cx="2724150" cy="1800225"/>
              </a:xfrm>
              <a:custGeom>
                <a:avLst/>
                <a:gdLst>
                  <a:gd name="T0" fmla="*/ 2724150 w 2724150"/>
                  <a:gd name="T1" fmla="*/ 1800225 h 1800225"/>
                  <a:gd name="T2" fmla="*/ 2438400 w 2724150"/>
                  <a:gd name="T3" fmla="*/ 1428750 h 1800225"/>
                  <a:gd name="T4" fmla="*/ 2381250 w 2724150"/>
                  <a:gd name="T5" fmla="*/ 1257300 h 1800225"/>
                  <a:gd name="T6" fmla="*/ 2105024 w 2724150"/>
                  <a:gd name="T7" fmla="*/ 1000125 h 1800225"/>
                  <a:gd name="T8" fmla="*/ 1990725 w 2724150"/>
                  <a:gd name="T9" fmla="*/ 895350 h 1800225"/>
                  <a:gd name="T10" fmla="*/ 1762125 w 2724150"/>
                  <a:gd name="T11" fmla="*/ 704850 h 1800225"/>
                  <a:gd name="T12" fmla="*/ 1609725 w 2724150"/>
                  <a:gd name="T13" fmla="*/ 571500 h 1800225"/>
                  <a:gd name="T14" fmla="*/ 1495425 w 2724150"/>
                  <a:gd name="T15" fmla="*/ 485775 h 1800225"/>
                  <a:gd name="T16" fmla="*/ 1343025 w 2724150"/>
                  <a:gd name="T17" fmla="*/ 438150 h 1800225"/>
                  <a:gd name="T18" fmla="*/ 1066800 w 2724150"/>
                  <a:gd name="T19" fmla="*/ 476250 h 1800225"/>
                  <a:gd name="T20" fmla="*/ 866775 w 2724150"/>
                  <a:gd name="T21" fmla="*/ 466725 h 1800225"/>
                  <a:gd name="T22" fmla="*/ 609600 w 2724150"/>
                  <a:gd name="T23" fmla="*/ 457200 h 1800225"/>
                  <a:gd name="T24" fmla="*/ 438150 w 2724150"/>
                  <a:gd name="T25" fmla="*/ 352425 h 1800225"/>
                  <a:gd name="T26" fmla="*/ 390525 w 2724150"/>
                  <a:gd name="T27" fmla="*/ 276225 h 1800225"/>
                  <a:gd name="T28" fmla="*/ 333375 w 2724150"/>
                  <a:gd name="T29" fmla="*/ 161925 h 1800225"/>
                  <a:gd name="T30" fmla="*/ 228600 w 2724150"/>
                  <a:gd name="T31" fmla="*/ 95250 h 1800225"/>
                  <a:gd name="T32" fmla="*/ 0 w 2724150"/>
                  <a:gd name="T33" fmla="*/ 0 h 18002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724150"/>
                  <a:gd name="T52" fmla="*/ 0 h 1800225"/>
                  <a:gd name="T53" fmla="*/ 2724150 w 2724150"/>
                  <a:gd name="T54" fmla="*/ 1800225 h 18002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724150" h="1800225">
                    <a:moveTo>
                      <a:pt x="2724150" y="1800225"/>
                    </a:moveTo>
                    <a:cubicBezTo>
                      <a:pt x="2609850" y="1659731"/>
                      <a:pt x="2495550" y="1519237"/>
                      <a:pt x="2438400" y="1428750"/>
                    </a:cubicBezTo>
                    <a:cubicBezTo>
                      <a:pt x="2381250" y="1338263"/>
                      <a:pt x="2436812" y="1328737"/>
                      <a:pt x="2381250" y="1257300"/>
                    </a:cubicBezTo>
                    <a:cubicBezTo>
                      <a:pt x="2325688" y="1185863"/>
                      <a:pt x="2170112" y="1060450"/>
                      <a:pt x="2105025" y="1000125"/>
                    </a:cubicBezTo>
                    <a:cubicBezTo>
                      <a:pt x="2039938" y="939800"/>
                      <a:pt x="2047875" y="944563"/>
                      <a:pt x="1990725" y="895350"/>
                    </a:cubicBezTo>
                    <a:cubicBezTo>
                      <a:pt x="1933575" y="846138"/>
                      <a:pt x="1825625" y="758825"/>
                      <a:pt x="1762125" y="704850"/>
                    </a:cubicBezTo>
                    <a:cubicBezTo>
                      <a:pt x="1698625" y="650875"/>
                      <a:pt x="1654175" y="608012"/>
                      <a:pt x="1609725" y="571500"/>
                    </a:cubicBezTo>
                    <a:cubicBezTo>
                      <a:pt x="1565275" y="534988"/>
                      <a:pt x="1539875" y="508000"/>
                      <a:pt x="1495425" y="485775"/>
                    </a:cubicBezTo>
                    <a:cubicBezTo>
                      <a:pt x="1450975" y="463550"/>
                      <a:pt x="1414463" y="439738"/>
                      <a:pt x="1343025" y="438150"/>
                    </a:cubicBezTo>
                    <a:cubicBezTo>
                      <a:pt x="1271588" y="436563"/>
                      <a:pt x="1146175" y="471488"/>
                      <a:pt x="1066800" y="476250"/>
                    </a:cubicBezTo>
                    <a:cubicBezTo>
                      <a:pt x="987425" y="481012"/>
                      <a:pt x="866775" y="466725"/>
                      <a:pt x="866775" y="466725"/>
                    </a:cubicBezTo>
                    <a:cubicBezTo>
                      <a:pt x="790575" y="463550"/>
                      <a:pt x="681038" y="476250"/>
                      <a:pt x="609600" y="457200"/>
                    </a:cubicBezTo>
                    <a:cubicBezTo>
                      <a:pt x="538163" y="438150"/>
                      <a:pt x="474663" y="382588"/>
                      <a:pt x="438150" y="352425"/>
                    </a:cubicBezTo>
                    <a:cubicBezTo>
                      <a:pt x="401637" y="322262"/>
                      <a:pt x="407987" y="307975"/>
                      <a:pt x="390525" y="276225"/>
                    </a:cubicBezTo>
                    <a:cubicBezTo>
                      <a:pt x="373063" y="244475"/>
                      <a:pt x="360363" y="192088"/>
                      <a:pt x="333375" y="161925"/>
                    </a:cubicBezTo>
                    <a:cubicBezTo>
                      <a:pt x="306388" y="131763"/>
                      <a:pt x="284162" y="122237"/>
                      <a:pt x="228600" y="95250"/>
                    </a:cubicBezTo>
                    <a:cubicBezTo>
                      <a:pt x="173038" y="68263"/>
                      <a:pt x="86519" y="34131"/>
                      <a:pt x="0" y="0"/>
                    </a:cubicBezTo>
                  </a:path>
                </a:pathLst>
              </a:custGeom>
              <a:noFill/>
              <a:ln w="63500">
                <a:solidFill>
                  <a:srgbClr val="00FF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cxnSp>
            <p:nvCxnSpPr>
              <p:cNvPr id="79" name="Прямая со стрелкой 78"/>
              <p:cNvCxnSpPr/>
              <p:nvPr/>
            </p:nvCxnSpPr>
            <p:spPr>
              <a:xfrm rot="5400000">
                <a:off x="7703732" y="1736438"/>
                <a:ext cx="505199" cy="29124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2"/>
              </a:lnRef>
              <a:fillRef idx="0">
                <a:schemeClr val="accent2"/>
              </a:fillRef>
              <a:effectRef idx="1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4173" name="Полилиния 111"/>
              <p:cNvSpPr>
                <a:spLocks/>
              </p:cNvSpPr>
              <p:nvPr/>
            </p:nvSpPr>
            <p:spPr bwMode="auto">
              <a:xfrm>
                <a:off x="2478088" y="5614988"/>
                <a:ext cx="228600" cy="758825"/>
              </a:xfrm>
              <a:custGeom>
                <a:avLst/>
                <a:gdLst>
                  <a:gd name="T0" fmla="*/ 228600 w 228600"/>
                  <a:gd name="T1" fmla="*/ 757555 h 758952"/>
                  <a:gd name="T2" fmla="*/ 173736 w 228600"/>
                  <a:gd name="T3" fmla="*/ 620648 h 758952"/>
                  <a:gd name="T4" fmla="*/ 91440 w 228600"/>
                  <a:gd name="T5" fmla="*/ 465486 h 758952"/>
                  <a:gd name="T6" fmla="*/ 27432 w 228600"/>
                  <a:gd name="T7" fmla="*/ 365089 h 758952"/>
                  <a:gd name="T8" fmla="*/ 27432 w 228600"/>
                  <a:gd name="T9" fmla="*/ 100397 h 758952"/>
                  <a:gd name="T10" fmla="*/ 0 w 228600"/>
                  <a:gd name="T11" fmla="*/ 0 h 75895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8600"/>
                  <a:gd name="T19" fmla="*/ 0 h 758952"/>
                  <a:gd name="T20" fmla="*/ 228600 w 228600"/>
                  <a:gd name="T21" fmla="*/ 758952 h 75895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8600" h="758952">
                    <a:moveTo>
                      <a:pt x="228600" y="758952"/>
                    </a:moveTo>
                    <a:cubicBezTo>
                      <a:pt x="212598" y="714756"/>
                      <a:pt x="196596" y="670560"/>
                      <a:pt x="173736" y="621792"/>
                    </a:cubicBezTo>
                    <a:cubicBezTo>
                      <a:pt x="150876" y="573024"/>
                      <a:pt x="115824" y="509016"/>
                      <a:pt x="91440" y="466344"/>
                    </a:cubicBezTo>
                    <a:cubicBezTo>
                      <a:pt x="67056" y="423672"/>
                      <a:pt x="38100" y="426720"/>
                      <a:pt x="27432" y="365760"/>
                    </a:cubicBezTo>
                    <a:cubicBezTo>
                      <a:pt x="16764" y="304800"/>
                      <a:pt x="32004" y="161544"/>
                      <a:pt x="27432" y="100584"/>
                    </a:cubicBezTo>
                    <a:cubicBezTo>
                      <a:pt x="22860" y="39624"/>
                      <a:pt x="11430" y="19812"/>
                      <a:pt x="0" y="0"/>
                    </a:cubicBezTo>
                  </a:path>
                </a:pathLst>
              </a:custGeom>
              <a:noFill/>
              <a:ln w="63500">
                <a:solidFill>
                  <a:srgbClr val="00FF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74" name="Freeform 37"/>
              <p:cNvSpPr>
                <a:spLocks/>
              </p:cNvSpPr>
              <p:nvPr/>
            </p:nvSpPr>
            <p:spPr bwMode="auto">
              <a:xfrm>
                <a:off x="5953125" y="1916113"/>
                <a:ext cx="176213" cy="209550"/>
              </a:xfrm>
              <a:custGeom>
                <a:avLst/>
                <a:gdLst>
                  <a:gd name="T0" fmla="*/ 0 w 111"/>
                  <a:gd name="T1" fmla="*/ 0 h 132"/>
                  <a:gd name="T2" fmla="*/ 2147483647 w 111"/>
                  <a:gd name="T3" fmla="*/ 2147483647 h 132"/>
                  <a:gd name="T4" fmla="*/ 2147483647 w 111"/>
                  <a:gd name="T5" fmla="*/ 2147483647 h 132"/>
                  <a:gd name="T6" fmla="*/ 2147483647 w 111"/>
                  <a:gd name="T7" fmla="*/ 2147483647 h 132"/>
                  <a:gd name="T8" fmla="*/ 2147483647 w 111"/>
                  <a:gd name="T9" fmla="*/ 2147483647 h 132"/>
                  <a:gd name="T10" fmla="*/ 2147483647 w 111"/>
                  <a:gd name="T11" fmla="*/ 2147483647 h 1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1"/>
                  <a:gd name="T19" fmla="*/ 0 h 132"/>
                  <a:gd name="T20" fmla="*/ 111 w 111"/>
                  <a:gd name="T21" fmla="*/ 132 h 1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1" h="132">
                    <a:moveTo>
                      <a:pt x="0" y="0"/>
                    </a:moveTo>
                    <a:lnTo>
                      <a:pt x="66" y="77"/>
                    </a:lnTo>
                    <a:lnTo>
                      <a:pt x="72" y="93"/>
                    </a:lnTo>
                    <a:lnTo>
                      <a:pt x="87" y="114"/>
                    </a:lnTo>
                    <a:lnTo>
                      <a:pt x="103" y="124"/>
                    </a:lnTo>
                    <a:lnTo>
                      <a:pt x="111" y="132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75" name="Freeform 38"/>
              <p:cNvSpPr>
                <a:spLocks/>
              </p:cNvSpPr>
              <p:nvPr/>
            </p:nvSpPr>
            <p:spPr bwMode="auto">
              <a:xfrm>
                <a:off x="5940425" y="2125663"/>
                <a:ext cx="188913" cy="79375"/>
              </a:xfrm>
              <a:custGeom>
                <a:avLst/>
                <a:gdLst>
                  <a:gd name="T0" fmla="*/ 2147483647 w 7251"/>
                  <a:gd name="T1" fmla="*/ 0 h 5316"/>
                  <a:gd name="T2" fmla="*/ 2147483647 w 7251"/>
                  <a:gd name="T3" fmla="*/ 2147483647 h 5316"/>
                  <a:gd name="T4" fmla="*/ 2147483647 w 7251"/>
                  <a:gd name="T5" fmla="*/ 2147483647 h 5316"/>
                  <a:gd name="T6" fmla="*/ 0 w 7251"/>
                  <a:gd name="T7" fmla="*/ 2147483647 h 53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251"/>
                  <a:gd name="T13" fmla="*/ 0 h 5316"/>
                  <a:gd name="T14" fmla="*/ 7251 w 7251"/>
                  <a:gd name="T15" fmla="*/ 5316 h 53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251" h="5316">
                    <a:moveTo>
                      <a:pt x="7251" y="0"/>
                    </a:moveTo>
                    <a:lnTo>
                      <a:pt x="3069" y="1720"/>
                    </a:lnTo>
                    <a:lnTo>
                      <a:pt x="2099" y="2688"/>
                    </a:lnTo>
                    <a:lnTo>
                      <a:pt x="0" y="5316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76" name="Freeform 41"/>
              <p:cNvSpPr>
                <a:spLocks/>
              </p:cNvSpPr>
              <p:nvPr/>
            </p:nvSpPr>
            <p:spPr bwMode="auto">
              <a:xfrm rot="-1312170">
                <a:off x="5908675" y="2076450"/>
                <a:ext cx="63500" cy="123825"/>
              </a:xfrm>
              <a:custGeom>
                <a:avLst/>
                <a:gdLst>
                  <a:gd name="T0" fmla="*/ 2147483647 w 8333"/>
                  <a:gd name="T1" fmla="*/ 2147483647 h 12887"/>
                  <a:gd name="T2" fmla="*/ 0 w 8333"/>
                  <a:gd name="T3" fmla="*/ 2147483647 h 12887"/>
                  <a:gd name="T4" fmla="*/ 2147483647 w 8333"/>
                  <a:gd name="T5" fmla="*/ 2147483647 h 12887"/>
                  <a:gd name="T6" fmla="*/ 2147483647 w 8333"/>
                  <a:gd name="T7" fmla="*/ 2147483647 h 12887"/>
                  <a:gd name="T8" fmla="*/ 2147483647 w 8333"/>
                  <a:gd name="T9" fmla="*/ 0 h 128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333"/>
                  <a:gd name="T16" fmla="*/ 0 h 12887"/>
                  <a:gd name="T17" fmla="*/ 8333 w 8333"/>
                  <a:gd name="T18" fmla="*/ 12887 h 1288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333" h="12887">
                    <a:moveTo>
                      <a:pt x="804" y="12887"/>
                    </a:moveTo>
                    <a:lnTo>
                      <a:pt x="0" y="9333"/>
                    </a:lnTo>
                    <a:lnTo>
                      <a:pt x="5833" y="10000"/>
                    </a:lnTo>
                    <a:lnTo>
                      <a:pt x="8333" y="7500"/>
                    </a:lnTo>
                    <a:cubicBezTo>
                      <a:pt x="8264" y="5000"/>
                      <a:pt x="8194" y="2500"/>
                      <a:pt x="8125" y="0"/>
                    </a:cubicBez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77" name="Freeform 42"/>
              <p:cNvSpPr>
                <a:spLocks/>
              </p:cNvSpPr>
              <p:nvPr/>
            </p:nvSpPr>
            <p:spPr bwMode="auto">
              <a:xfrm rot="-1312170">
                <a:off x="5948363" y="2025650"/>
                <a:ext cx="87312" cy="58738"/>
              </a:xfrm>
              <a:custGeom>
                <a:avLst/>
                <a:gdLst>
                  <a:gd name="T0" fmla="*/ 2147483647 w 55"/>
                  <a:gd name="T1" fmla="*/ 2147483647 h 37"/>
                  <a:gd name="T2" fmla="*/ 2147483647 w 55"/>
                  <a:gd name="T3" fmla="*/ 0 h 37"/>
                  <a:gd name="T4" fmla="*/ 2147483647 w 55"/>
                  <a:gd name="T5" fmla="*/ 2147483647 h 37"/>
                  <a:gd name="T6" fmla="*/ 2147483647 w 55"/>
                  <a:gd name="T7" fmla="*/ 2147483647 h 37"/>
                  <a:gd name="T8" fmla="*/ 2147483647 w 55"/>
                  <a:gd name="T9" fmla="*/ 2147483647 h 37"/>
                  <a:gd name="T10" fmla="*/ 2147483647 w 55"/>
                  <a:gd name="T11" fmla="*/ 2147483647 h 37"/>
                  <a:gd name="T12" fmla="*/ 2147483647 w 55"/>
                  <a:gd name="T13" fmla="*/ 2147483647 h 37"/>
                  <a:gd name="T14" fmla="*/ 0 w 55"/>
                  <a:gd name="T15" fmla="*/ 2147483647 h 3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5"/>
                  <a:gd name="T25" fmla="*/ 0 h 37"/>
                  <a:gd name="T26" fmla="*/ 55 w 55"/>
                  <a:gd name="T27" fmla="*/ 37 h 3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5" h="37">
                    <a:moveTo>
                      <a:pt x="12" y="3"/>
                    </a:moveTo>
                    <a:lnTo>
                      <a:pt x="34" y="0"/>
                    </a:lnTo>
                    <a:lnTo>
                      <a:pt x="51" y="6"/>
                    </a:lnTo>
                    <a:lnTo>
                      <a:pt x="55" y="19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19" y="31"/>
                    </a:lnTo>
                    <a:lnTo>
                      <a:pt x="0" y="18"/>
                    </a:lnTo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178" name="Freeform 63"/>
              <p:cNvSpPr>
                <a:spLocks/>
              </p:cNvSpPr>
              <p:nvPr/>
            </p:nvSpPr>
            <p:spPr bwMode="auto">
              <a:xfrm>
                <a:off x="5214938" y="679450"/>
                <a:ext cx="903287" cy="2967038"/>
              </a:xfrm>
              <a:custGeom>
                <a:avLst/>
                <a:gdLst>
                  <a:gd name="T0" fmla="*/ 0 w 569"/>
                  <a:gd name="T1" fmla="*/ 2147483647 h 1869"/>
                  <a:gd name="T2" fmla="*/ 2147483647 w 569"/>
                  <a:gd name="T3" fmla="*/ 2147483647 h 1869"/>
                  <a:gd name="T4" fmla="*/ 2147483647 w 569"/>
                  <a:gd name="T5" fmla="*/ 2147483647 h 1869"/>
                  <a:gd name="T6" fmla="*/ 2147483647 w 569"/>
                  <a:gd name="T7" fmla="*/ 2147483647 h 1869"/>
                  <a:gd name="T8" fmla="*/ 2147483647 w 569"/>
                  <a:gd name="T9" fmla="*/ 2147483647 h 1869"/>
                  <a:gd name="T10" fmla="*/ 2147483647 w 569"/>
                  <a:gd name="T11" fmla="*/ 2147483647 h 1869"/>
                  <a:gd name="T12" fmla="*/ 2147483647 w 569"/>
                  <a:gd name="T13" fmla="*/ 2147483647 h 1869"/>
                  <a:gd name="T14" fmla="*/ 2147483647 w 569"/>
                  <a:gd name="T15" fmla="*/ 2147483647 h 1869"/>
                  <a:gd name="T16" fmla="*/ 2147483647 w 569"/>
                  <a:gd name="T17" fmla="*/ 2147483647 h 1869"/>
                  <a:gd name="T18" fmla="*/ 2147483647 w 569"/>
                  <a:gd name="T19" fmla="*/ 2147483647 h 1869"/>
                  <a:gd name="T20" fmla="*/ 2147483647 w 569"/>
                  <a:gd name="T21" fmla="*/ 2147483647 h 1869"/>
                  <a:gd name="T22" fmla="*/ 2147483647 w 569"/>
                  <a:gd name="T23" fmla="*/ 2147483647 h 1869"/>
                  <a:gd name="T24" fmla="*/ 2147483647 w 569"/>
                  <a:gd name="T25" fmla="*/ 2147483647 h 1869"/>
                  <a:gd name="T26" fmla="*/ 2147483647 w 569"/>
                  <a:gd name="T27" fmla="*/ 2147483647 h 1869"/>
                  <a:gd name="T28" fmla="*/ 2147483647 w 569"/>
                  <a:gd name="T29" fmla="*/ 0 h 186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69"/>
                  <a:gd name="T46" fmla="*/ 0 h 1869"/>
                  <a:gd name="T47" fmla="*/ 569 w 569"/>
                  <a:gd name="T48" fmla="*/ 1869 h 186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69" h="1869">
                    <a:moveTo>
                      <a:pt x="0" y="1869"/>
                    </a:moveTo>
                    <a:lnTo>
                      <a:pt x="45" y="1776"/>
                    </a:lnTo>
                    <a:lnTo>
                      <a:pt x="61" y="1708"/>
                    </a:lnTo>
                    <a:lnTo>
                      <a:pt x="141" y="1616"/>
                    </a:lnTo>
                    <a:lnTo>
                      <a:pt x="261" y="1480"/>
                    </a:lnTo>
                    <a:lnTo>
                      <a:pt x="357" y="1344"/>
                    </a:lnTo>
                    <a:lnTo>
                      <a:pt x="397" y="1272"/>
                    </a:lnTo>
                    <a:lnTo>
                      <a:pt x="437" y="1084"/>
                    </a:lnTo>
                    <a:lnTo>
                      <a:pt x="445" y="932"/>
                    </a:lnTo>
                    <a:lnTo>
                      <a:pt x="453" y="788"/>
                    </a:lnTo>
                    <a:lnTo>
                      <a:pt x="441" y="640"/>
                    </a:lnTo>
                    <a:lnTo>
                      <a:pt x="449" y="560"/>
                    </a:lnTo>
                    <a:lnTo>
                      <a:pt x="469" y="460"/>
                    </a:lnTo>
                    <a:lnTo>
                      <a:pt x="545" y="144"/>
                    </a:lnTo>
                    <a:lnTo>
                      <a:pt x="569" y="0"/>
                    </a:lnTo>
                  </a:path>
                </a:pathLst>
              </a:custGeom>
              <a:noFill/>
              <a:ln w="4445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6" name="Полилиния 85"/>
              <p:cNvSpPr/>
              <p:nvPr/>
            </p:nvSpPr>
            <p:spPr>
              <a:xfrm>
                <a:off x="5944398" y="2003900"/>
                <a:ext cx="3105571" cy="130757"/>
              </a:xfrm>
              <a:custGeom>
                <a:avLst/>
                <a:gdLst>
                  <a:gd name="connsiteX0" fmla="*/ 0 w 3105150"/>
                  <a:gd name="connsiteY0" fmla="*/ 104775 h 128587"/>
                  <a:gd name="connsiteX1" fmla="*/ 933450 w 3105150"/>
                  <a:gd name="connsiteY1" fmla="*/ 123825 h 128587"/>
                  <a:gd name="connsiteX2" fmla="*/ 2152650 w 3105150"/>
                  <a:gd name="connsiteY2" fmla="*/ 76200 h 128587"/>
                  <a:gd name="connsiteX3" fmla="*/ 2676525 w 3105150"/>
                  <a:gd name="connsiteY3" fmla="*/ 38100 h 128587"/>
                  <a:gd name="connsiteX4" fmla="*/ 3105150 w 3105150"/>
                  <a:gd name="connsiteY4" fmla="*/ 0 h 128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5150" h="128587">
                    <a:moveTo>
                      <a:pt x="0" y="104775"/>
                    </a:moveTo>
                    <a:cubicBezTo>
                      <a:pt x="287337" y="116681"/>
                      <a:pt x="574675" y="128587"/>
                      <a:pt x="933450" y="123825"/>
                    </a:cubicBezTo>
                    <a:cubicBezTo>
                      <a:pt x="1292225" y="119063"/>
                      <a:pt x="1862138" y="90487"/>
                      <a:pt x="2152650" y="76200"/>
                    </a:cubicBezTo>
                    <a:cubicBezTo>
                      <a:pt x="2443162" y="61913"/>
                      <a:pt x="2676525" y="38100"/>
                      <a:pt x="2676525" y="38100"/>
                    </a:cubicBezTo>
                    <a:lnTo>
                      <a:pt x="3105150" y="0"/>
                    </a:lnTo>
                  </a:path>
                </a:pathLst>
              </a:custGeom>
              <a:ln w="63500">
                <a:solidFill>
                  <a:srgbClr val="FF0000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164174" y="5994971"/>
                <a:ext cx="2808386" cy="674590"/>
              </a:xfrm>
              <a:prstGeom prst="rect">
                <a:avLst/>
              </a:prstGeom>
              <a:solidFill>
                <a:schemeClr val="bg1">
                  <a:alpha val="7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90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88" name="Line 83"/>
              <p:cNvSpPr>
                <a:spLocks noChangeShapeType="1"/>
              </p:cNvSpPr>
              <p:nvPr/>
            </p:nvSpPr>
            <p:spPr bwMode="auto">
              <a:xfrm>
                <a:off x="286019" y="6357525"/>
                <a:ext cx="359593" cy="0"/>
              </a:xfrm>
              <a:prstGeom prst="line">
                <a:avLst/>
              </a:prstGeom>
              <a:noFill/>
              <a:ln w="50800">
                <a:solidFill>
                  <a:srgbClr val="0000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89" name="Line 84"/>
              <p:cNvSpPr>
                <a:spLocks noChangeShapeType="1"/>
              </p:cNvSpPr>
              <p:nvPr/>
            </p:nvSpPr>
            <p:spPr bwMode="auto">
              <a:xfrm>
                <a:off x="286019" y="6532860"/>
                <a:ext cx="362564" cy="0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sz="9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90" name="Rectangle 77"/>
              <p:cNvSpPr>
                <a:spLocks noChangeArrowheads="1"/>
              </p:cNvSpPr>
              <p:nvPr/>
            </p:nvSpPr>
            <p:spPr bwMode="auto">
              <a:xfrm>
                <a:off x="666414" y="6232711"/>
                <a:ext cx="1979244" cy="2169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r>
                  <a:rPr lang="en-US" sz="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  <a:ea typeface="MS PGothic" pitchFamily="34" charset="-128"/>
                    <a:cs typeface="+mn-cs"/>
                  </a:rPr>
                  <a:t>Republican roads</a:t>
                </a:r>
                <a:endParaRPr lang="ru-RU" sz="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91" name="Rectangle 78"/>
              <p:cNvSpPr>
                <a:spLocks noChangeArrowheads="1"/>
              </p:cNvSpPr>
              <p:nvPr/>
            </p:nvSpPr>
            <p:spPr bwMode="auto">
              <a:xfrm>
                <a:off x="666414" y="6431820"/>
                <a:ext cx="2249682" cy="2882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r>
                  <a:rPr lang="en-US" sz="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  <a:ea typeface="MS PGothic" pitchFamily="34" charset="-128"/>
                    <a:cs typeface="+mn-cs"/>
                  </a:rPr>
                  <a:t>Western Europe – Western China</a:t>
                </a:r>
                <a:endParaRPr lang="ru-RU" sz="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3780900" y="4286210"/>
                <a:ext cx="1150102" cy="338780"/>
              </a:xfrm>
              <a:prstGeom prst="rect">
                <a:avLst/>
              </a:prstGeom>
              <a:ln w="6350">
                <a:noFill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36000" tIns="36000" rIns="36000" bIns="0" anchor="ctr" anchorCtr="1"/>
              <a:lstStyle/>
              <a:p>
                <a:pPr algn="ctr">
                  <a:defRPr/>
                </a:pPr>
                <a:r>
                  <a:rPr lang="en-US" sz="1050" dirty="0" err="1" smtClean="0">
                    <a:solidFill>
                      <a:schemeClr val="tx2"/>
                    </a:solidFill>
                    <a:latin typeface="Impact" pitchFamily="34" charset="0"/>
                  </a:rPr>
                  <a:t>Almaty</a:t>
                </a:r>
                <a:endParaRPr lang="ru-RU" sz="1050" dirty="0">
                  <a:solidFill>
                    <a:schemeClr val="tx2"/>
                  </a:solidFill>
                  <a:latin typeface="Impact" pitchFamily="34" charset="0"/>
                </a:endParaRPr>
              </a:p>
            </p:txBody>
          </p:sp>
          <p:sp>
            <p:nvSpPr>
              <p:cNvPr id="4186" name="Line 83"/>
              <p:cNvSpPr>
                <a:spLocks noChangeShapeType="1"/>
              </p:cNvSpPr>
              <p:nvPr/>
            </p:nvSpPr>
            <p:spPr bwMode="auto">
              <a:xfrm>
                <a:off x="287338" y="6165304"/>
                <a:ext cx="360363" cy="0"/>
              </a:xfrm>
              <a:prstGeom prst="line">
                <a:avLst/>
              </a:prstGeom>
              <a:noFill/>
              <a:ln w="50800">
                <a:solidFill>
                  <a:srgbClr val="00FF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4" name="Rectangle 77"/>
              <p:cNvSpPr>
                <a:spLocks noChangeArrowheads="1"/>
              </p:cNvSpPr>
              <p:nvPr/>
            </p:nvSpPr>
            <p:spPr bwMode="auto">
              <a:xfrm>
                <a:off x="666414" y="6057378"/>
                <a:ext cx="1979244" cy="2169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r>
                  <a:rPr lang="en-US" sz="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  <a:ea typeface="MS PGothic" pitchFamily="34" charset="-128"/>
                  </a:rPr>
                  <a:t>Big </a:t>
                </a:r>
                <a:r>
                  <a:rPr lang="en-US" sz="400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  <a:ea typeface="MS PGothic" pitchFamily="34" charset="-128"/>
                  </a:rPr>
                  <a:t>Almaty</a:t>
                </a:r>
                <a:r>
                  <a:rPr lang="en-US" sz="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Impact" pitchFamily="34" charset="0"/>
                    <a:ea typeface="MS PGothic" pitchFamily="34" charset="-128"/>
                  </a:rPr>
                  <a:t> Ring Road</a:t>
                </a:r>
                <a:endParaRPr lang="ru-RU" sz="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Impact" pitchFamily="34" charset="0"/>
                  <a:ea typeface="MS PGothic" pitchFamily="34" charset="-128"/>
                  <a:cs typeface="+mn-cs"/>
                </a:endParaRPr>
              </a:p>
            </p:txBody>
          </p:sp>
        </p:grpSp>
        <p:sp>
          <p:nvSpPr>
            <p:cNvPr id="3" name="Прямоугольник 2"/>
            <p:cNvSpPr/>
            <p:nvPr/>
          </p:nvSpPr>
          <p:spPr bwMode="auto">
            <a:xfrm>
              <a:off x="4117975" y="1628775"/>
              <a:ext cx="4846638" cy="3455988"/>
            </a:xfrm>
            <a:prstGeom prst="rect">
              <a:avLst/>
            </a:prstGeom>
            <a:noFill/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6" name="Прямоугольник 5"/>
            <p:cNvSpPr/>
            <p:nvPr/>
          </p:nvSpPr>
          <p:spPr bwMode="auto">
            <a:xfrm>
              <a:off x="3995738" y="1628775"/>
              <a:ext cx="4968875" cy="3455988"/>
            </a:xfrm>
            <a:prstGeom prst="rect">
              <a:avLst/>
            </a:prstGeom>
            <a:noFill/>
            <a:ln w="12700">
              <a:solidFill>
                <a:schemeClr val="accent5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just" eaLnBrk="0" hangingPunct="0">
                <a:defRPr/>
              </a:pPr>
              <a:endParaRPr lang="ru-RU" sz="16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sp>
        <p:nvSpPr>
          <p:cNvPr id="95" name="Прямоугольник 94"/>
          <p:cNvSpPr/>
          <p:nvPr/>
        </p:nvSpPr>
        <p:spPr>
          <a:xfrm>
            <a:off x="4572000" y="5572140"/>
            <a:ext cx="3857652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defRPr/>
            </a:pPr>
            <a:r>
              <a:rPr lang="en-US" altLang="ru-RU" sz="14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BTO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(construction-transfer-operation)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                      </a:t>
            </a: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defRPr/>
            </a:pP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Terms of concession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ru-RU" alt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– </a:t>
            </a:r>
            <a:r>
              <a:rPr lang="ru-RU" altLang="ru-RU" sz="14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30 </a:t>
            </a:r>
            <a:r>
              <a:rPr lang="en-US" altLang="ru-RU" sz="14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years</a:t>
            </a:r>
            <a:r>
              <a:rPr lang="ru-RU" altLang="ru-RU" sz="1400" dirty="0" smtClean="0">
                <a:solidFill>
                  <a:srgbClr val="33660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defRPr/>
            </a:pP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                                           </a:t>
            </a:r>
            <a:r>
              <a:rPr lang="ru-RU" altLang="ru-RU" sz="1400" dirty="0" smtClean="0">
                <a:solidFill>
                  <a:srgbClr val="0070C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2015-2019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construction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  <a:p>
            <a:pPr marL="171450" indent="-171450">
              <a:spcBef>
                <a:spcPts val="600"/>
              </a:spcBef>
              <a:buClr>
                <a:schemeClr val="accent5">
                  <a:lumMod val="75000"/>
                </a:schemeClr>
              </a:buClr>
              <a:defRPr/>
            </a:pP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                                           </a:t>
            </a:r>
            <a:r>
              <a:rPr lang="ru-RU" altLang="ru-RU" sz="1400" dirty="0" smtClean="0">
                <a:solidFill>
                  <a:srgbClr val="0070C0"/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2019-2044</a:t>
            </a:r>
            <a:r>
              <a:rPr lang="ru-RU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MS PGothic" pitchFamily="34" charset="-128"/>
                <a:cs typeface="Calibri" pitchFamily="34" charset="0"/>
              </a:rPr>
              <a:t>operation</a:t>
            </a:r>
            <a:endParaRPr lang="ru-RU" altLang="ru-RU" sz="140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97" name="Пятиугольник 96"/>
          <p:cNvSpPr/>
          <p:nvPr/>
        </p:nvSpPr>
        <p:spPr>
          <a:xfrm>
            <a:off x="5557858" y="5141926"/>
            <a:ext cx="1943100" cy="287338"/>
          </a:xfrm>
          <a:prstGeom prst="homePlate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ea typeface="+mj-ea"/>
                <a:cs typeface="Calibri" pitchFamily="34" charset="0"/>
              </a:rPr>
              <a:t>Structure of concession</a:t>
            </a:r>
            <a:endParaRPr lang="ru-RU" sz="1400" kern="0" dirty="0">
              <a:solidFill>
                <a:schemeClr val="tx1">
                  <a:lumMod val="65000"/>
                  <a:lumOff val="35000"/>
                </a:schemeClr>
              </a:solidFill>
              <a:latin typeface="Impact" pitchFamily="34" charset="0"/>
              <a:ea typeface="+mj-ea"/>
              <a:cs typeface="Calibri" pitchFamily="34" charset="0"/>
            </a:endParaRPr>
          </a:p>
        </p:txBody>
      </p:sp>
      <p:sp>
        <p:nvSpPr>
          <p:cNvPr id="96" name="Пятиугольник 95"/>
          <p:cNvSpPr/>
          <p:nvPr/>
        </p:nvSpPr>
        <p:spPr>
          <a:xfrm>
            <a:off x="-43544" y="116632"/>
            <a:ext cx="3895464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eaLnBrk="0" hangingPunct="0">
              <a:defRPr/>
            </a:pPr>
            <a:r>
              <a:rPr lang="en-US" sz="1600" kern="0" dirty="0" smtClean="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Concession project </a:t>
            </a:r>
            <a:r>
              <a:rPr lang="ru-RU" sz="1600" kern="0" dirty="0" smtClean="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 - </a:t>
            </a:r>
            <a:r>
              <a:rPr lang="en-US" sz="1600" kern="0" dirty="0" smtClean="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Big </a:t>
            </a:r>
            <a:r>
              <a:rPr lang="en-US" sz="1600" kern="0" dirty="0" err="1" smtClean="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Almaty</a:t>
            </a:r>
            <a:r>
              <a:rPr lang="en-US" sz="1600" kern="0" dirty="0" smtClean="0">
                <a:solidFill>
                  <a:schemeClr val="bg1"/>
                </a:solidFill>
                <a:latin typeface="Impact" pitchFamily="34" charset="0"/>
                <a:cs typeface="Calibri" pitchFamily="34" charset="0"/>
              </a:rPr>
              <a:t> Ring Road</a:t>
            </a:r>
            <a:endParaRPr lang="ru-RU" sz="1600" kern="0" dirty="0">
              <a:solidFill>
                <a:schemeClr val="bg1"/>
              </a:solidFill>
              <a:latin typeface="Impact" pitchFamily="34" charset="0"/>
              <a:cs typeface="Calibri" pitchFamily="34" charset="0"/>
            </a:endParaRPr>
          </a:p>
        </p:txBody>
      </p:sp>
      <p:sp>
        <p:nvSpPr>
          <p:cNvPr id="98" name="Овал 97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6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Y:\Основа.jpg"/>
          <p:cNvPicPr>
            <a:picLocks noChangeArrowheads="1"/>
          </p:cNvPicPr>
          <p:nvPr/>
        </p:nvPicPr>
        <p:blipFill>
          <a:blip r:embed="rId2" cstate="print">
            <a:lum bright="-10000" contrast="1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35942" y="908720"/>
            <a:ext cx="9072562" cy="504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Группа 47"/>
          <p:cNvGrpSpPr>
            <a:grpSpLocks/>
          </p:cNvGrpSpPr>
          <p:nvPr/>
        </p:nvGrpSpPr>
        <p:grpSpPr bwMode="auto">
          <a:xfrm>
            <a:off x="415925" y="1419225"/>
            <a:ext cx="8072438" cy="4270375"/>
            <a:chOff x="405494" y="1258887"/>
            <a:chExt cx="7845293" cy="4576809"/>
          </a:xfrm>
        </p:grpSpPr>
        <p:sp>
          <p:nvSpPr>
            <p:cNvPr id="5" name="Полилиния 4"/>
            <p:cNvSpPr/>
            <p:nvPr/>
          </p:nvSpPr>
          <p:spPr>
            <a:xfrm>
              <a:off x="5484492" y="2506025"/>
              <a:ext cx="705074" cy="2239063"/>
            </a:xfrm>
            <a:custGeom>
              <a:avLst/>
              <a:gdLst>
                <a:gd name="connsiteX0" fmla="*/ 0 w 633046"/>
                <a:gd name="connsiteY0" fmla="*/ 0 h 2168769"/>
                <a:gd name="connsiteX1" fmla="*/ 287215 w 633046"/>
                <a:gd name="connsiteY1" fmla="*/ 275492 h 2168769"/>
                <a:gd name="connsiteX2" fmla="*/ 257908 w 633046"/>
                <a:gd name="connsiteY2" fmla="*/ 439616 h 2168769"/>
                <a:gd name="connsiteX3" fmla="*/ 275492 w 633046"/>
                <a:gd name="connsiteY3" fmla="*/ 539262 h 2168769"/>
                <a:gd name="connsiteX4" fmla="*/ 304800 w 633046"/>
                <a:gd name="connsiteY4" fmla="*/ 568569 h 2168769"/>
                <a:gd name="connsiteX5" fmla="*/ 275492 w 633046"/>
                <a:gd name="connsiteY5" fmla="*/ 674077 h 2168769"/>
                <a:gd name="connsiteX6" fmla="*/ 281354 w 633046"/>
                <a:gd name="connsiteY6" fmla="*/ 744416 h 2168769"/>
                <a:gd name="connsiteX7" fmla="*/ 252046 w 633046"/>
                <a:gd name="connsiteY7" fmla="*/ 797169 h 2168769"/>
                <a:gd name="connsiteX8" fmla="*/ 281354 w 633046"/>
                <a:gd name="connsiteY8" fmla="*/ 920262 h 2168769"/>
                <a:gd name="connsiteX9" fmla="*/ 328246 w 633046"/>
                <a:gd name="connsiteY9" fmla="*/ 1043354 h 2168769"/>
                <a:gd name="connsiteX10" fmla="*/ 316523 w 633046"/>
                <a:gd name="connsiteY10" fmla="*/ 1131277 h 2168769"/>
                <a:gd name="connsiteX11" fmla="*/ 410308 w 633046"/>
                <a:gd name="connsiteY11" fmla="*/ 1230923 h 2168769"/>
                <a:gd name="connsiteX12" fmla="*/ 504092 w 633046"/>
                <a:gd name="connsiteY12" fmla="*/ 1506416 h 2168769"/>
                <a:gd name="connsiteX13" fmla="*/ 515815 w 633046"/>
                <a:gd name="connsiteY13" fmla="*/ 1617785 h 2168769"/>
                <a:gd name="connsiteX14" fmla="*/ 463061 w 633046"/>
                <a:gd name="connsiteY14" fmla="*/ 1682262 h 2168769"/>
                <a:gd name="connsiteX15" fmla="*/ 498231 w 633046"/>
                <a:gd name="connsiteY15" fmla="*/ 1740877 h 2168769"/>
                <a:gd name="connsiteX16" fmla="*/ 492369 w 633046"/>
                <a:gd name="connsiteY16" fmla="*/ 1793631 h 2168769"/>
                <a:gd name="connsiteX17" fmla="*/ 527538 w 633046"/>
                <a:gd name="connsiteY17" fmla="*/ 1817077 h 2168769"/>
                <a:gd name="connsiteX18" fmla="*/ 597877 w 633046"/>
                <a:gd name="connsiteY18" fmla="*/ 1910862 h 2168769"/>
                <a:gd name="connsiteX19" fmla="*/ 633046 w 633046"/>
                <a:gd name="connsiteY19" fmla="*/ 2033954 h 2168769"/>
                <a:gd name="connsiteX20" fmla="*/ 633046 w 633046"/>
                <a:gd name="connsiteY20" fmla="*/ 2168769 h 2168769"/>
                <a:gd name="connsiteX0" fmla="*/ 0 w 704516"/>
                <a:gd name="connsiteY0" fmla="*/ 0 h 2240231"/>
                <a:gd name="connsiteX1" fmla="*/ 358685 w 704516"/>
                <a:gd name="connsiteY1" fmla="*/ 346954 h 2240231"/>
                <a:gd name="connsiteX2" fmla="*/ 329378 w 704516"/>
                <a:gd name="connsiteY2" fmla="*/ 511078 h 2240231"/>
                <a:gd name="connsiteX3" fmla="*/ 346962 w 704516"/>
                <a:gd name="connsiteY3" fmla="*/ 610724 h 2240231"/>
                <a:gd name="connsiteX4" fmla="*/ 376270 w 704516"/>
                <a:gd name="connsiteY4" fmla="*/ 640031 h 2240231"/>
                <a:gd name="connsiteX5" fmla="*/ 346962 w 704516"/>
                <a:gd name="connsiteY5" fmla="*/ 745539 h 2240231"/>
                <a:gd name="connsiteX6" fmla="*/ 352824 w 704516"/>
                <a:gd name="connsiteY6" fmla="*/ 815878 h 2240231"/>
                <a:gd name="connsiteX7" fmla="*/ 323516 w 704516"/>
                <a:gd name="connsiteY7" fmla="*/ 868631 h 2240231"/>
                <a:gd name="connsiteX8" fmla="*/ 352824 w 704516"/>
                <a:gd name="connsiteY8" fmla="*/ 991724 h 2240231"/>
                <a:gd name="connsiteX9" fmla="*/ 399716 w 704516"/>
                <a:gd name="connsiteY9" fmla="*/ 1114816 h 2240231"/>
                <a:gd name="connsiteX10" fmla="*/ 387993 w 704516"/>
                <a:gd name="connsiteY10" fmla="*/ 1202739 h 2240231"/>
                <a:gd name="connsiteX11" fmla="*/ 481778 w 704516"/>
                <a:gd name="connsiteY11" fmla="*/ 1302385 h 2240231"/>
                <a:gd name="connsiteX12" fmla="*/ 575562 w 704516"/>
                <a:gd name="connsiteY12" fmla="*/ 1577878 h 2240231"/>
                <a:gd name="connsiteX13" fmla="*/ 587285 w 704516"/>
                <a:gd name="connsiteY13" fmla="*/ 1689247 h 2240231"/>
                <a:gd name="connsiteX14" fmla="*/ 534531 w 704516"/>
                <a:gd name="connsiteY14" fmla="*/ 1753724 h 2240231"/>
                <a:gd name="connsiteX15" fmla="*/ 569701 w 704516"/>
                <a:gd name="connsiteY15" fmla="*/ 1812339 h 2240231"/>
                <a:gd name="connsiteX16" fmla="*/ 563839 w 704516"/>
                <a:gd name="connsiteY16" fmla="*/ 1865093 h 2240231"/>
                <a:gd name="connsiteX17" fmla="*/ 599008 w 704516"/>
                <a:gd name="connsiteY17" fmla="*/ 1888539 h 2240231"/>
                <a:gd name="connsiteX18" fmla="*/ 669347 w 704516"/>
                <a:gd name="connsiteY18" fmla="*/ 1982324 h 2240231"/>
                <a:gd name="connsiteX19" fmla="*/ 704516 w 704516"/>
                <a:gd name="connsiteY19" fmla="*/ 2105416 h 2240231"/>
                <a:gd name="connsiteX20" fmla="*/ 704516 w 704516"/>
                <a:gd name="connsiteY20" fmla="*/ 2240231 h 2240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704516" h="2240231">
                  <a:moveTo>
                    <a:pt x="0" y="0"/>
                  </a:moveTo>
                  <a:lnTo>
                    <a:pt x="358685" y="346954"/>
                  </a:lnTo>
                  <a:lnTo>
                    <a:pt x="329378" y="511078"/>
                  </a:lnTo>
                  <a:lnTo>
                    <a:pt x="346962" y="610724"/>
                  </a:lnTo>
                  <a:lnTo>
                    <a:pt x="376270" y="640031"/>
                  </a:lnTo>
                  <a:lnTo>
                    <a:pt x="346962" y="745539"/>
                  </a:lnTo>
                  <a:lnTo>
                    <a:pt x="352824" y="815878"/>
                  </a:lnTo>
                  <a:lnTo>
                    <a:pt x="323516" y="868631"/>
                  </a:lnTo>
                  <a:lnTo>
                    <a:pt x="352824" y="991724"/>
                  </a:lnTo>
                  <a:lnTo>
                    <a:pt x="399716" y="1114816"/>
                  </a:lnTo>
                  <a:lnTo>
                    <a:pt x="387993" y="1202739"/>
                  </a:lnTo>
                  <a:lnTo>
                    <a:pt x="481778" y="1302385"/>
                  </a:lnTo>
                  <a:lnTo>
                    <a:pt x="575562" y="1577878"/>
                  </a:lnTo>
                  <a:lnTo>
                    <a:pt x="587285" y="1689247"/>
                  </a:lnTo>
                  <a:lnTo>
                    <a:pt x="534531" y="1753724"/>
                  </a:lnTo>
                  <a:lnTo>
                    <a:pt x="569701" y="1812339"/>
                  </a:lnTo>
                  <a:lnTo>
                    <a:pt x="563839" y="1865093"/>
                  </a:lnTo>
                  <a:lnTo>
                    <a:pt x="599008" y="1888539"/>
                  </a:lnTo>
                  <a:lnTo>
                    <a:pt x="669347" y="1982324"/>
                  </a:lnTo>
                  <a:lnTo>
                    <a:pt x="704516" y="2105416"/>
                  </a:lnTo>
                  <a:lnTo>
                    <a:pt x="704516" y="2240231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4776333" y="1258887"/>
              <a:ext cx="774501" cy="1313493"/>
            </a:xfrm>
            <a:custGeom>
              <a:avLst/>
              <a:gdLst>
                <a:gd name="connsiteX0" fmla="*/ 773723 w 773723"/>
                <a:gd name="connsiteY0" fmla="*/ 1312985 h 1312985"/>
                <a:gd name="connsiteX1" fmla="*/ 556846 w 773723"/>
                <a:gd name="connsiteY1" fmla="*/ 1008185 h 1312985"/>
                <a:gd name="connsiteX2" fmla="*/ 433754 w 773723"/>
                <a:gd name="connsiteY2" fmla="*/ 762000 h 1312985"/>
                <a:gd name="connsiteX3" fmla="*/ 351693 w 773723"/>
                <a:gd name="connsiteY3" fmla="*/ 656492 h 1312985"/>
                <a:gd name="connsiteX4" fmla="*/ 298939 w 773723"/>
                <a:gd name="connsiteY4" fmla="*/ 562708 h 1312985"/>
                <a:gd name="connsiteX5" fmla="*/ 298939 w 773723"/>
                <a:gd name="connsiteY5" fmla="*/ 398585 h 1312985"/>
                <a:gd name="connsiteX6" fmla="*/ 211016 w 773723"/>
                <a:gd name="connsiteY6" fmla="*/ 140677 h 1312985"/>
                <a:gd name="connsiteX7" fmla="*/ 169985 w 773723"/>
                <a:gd name="connsiteY7" fmla="*/ 35169 h 1312985"/>
                <a:gd name="connsiteX8" fmla="*/ 0 w 773723"/>
                <a:gd name="connsiteY8" fmla="*/ 0 h 1312985"/>
                <a:gd name="connsiteX0" fmla="*/ 773723 w 773723"/>
                <a:gd name="connsiteY0" fmla="*/ 1312985 h 1312985"/>
                <a:gd name="connsiteX1" fmla="*/ 556846 w 773723"/>
                <a:gd name="connsiteY1" fmla="*/ 1008185 h 1312985"/>
                <a:gd name="connsiteX2" fmla="*/ 433754 w 773723"/>
                <a:gd name="connsiteY2" fmla="*/ 762000 h 1312985"/>
                <a:gd name="connsiteX3" fmla="*/ 351693 w 773723"/>
                <a:gd name="connsiteY3" fmla="*/ 656492 h 1312985"/>
                <a:gd name="connsiteX4" fmla="*/ 298939 w 773723"/>
                <a:gd name="connsiteY4" fmla="*/ 562708 h 1312985"/>
                <a:gd name="connsiteX5" fmla="*/ 298939 w 773723"/>
                <a:gd name="connsiteY5" fmla="*/ 398585 h 1312985"/>
                <a:gd name="connsiteX6" fmla="*/ 211016 w 773723"/>
                <a:gd name="connsiteY6" fmla="*/ 140677 h 1312985"/>
                <a:gd name="connsiteX7" fmla="*/ 169985 w 773723"/>
                <a:gd name="connsiteY7" fmla="*/ 106583 h 1312985"/>
                <a:gd name="connsiteX8" fmla="*/ 0 w 773723"/>
                <a:gd name="connsiteY8" fmla="*/ 0 h 1312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73723" h="1312985">
                  <a:moveTo>
                    <a:pt x="773723" y="1312985"/>
                  </a:moveTo>
                  <a:lnTo>
                    <a:pt x="556846" y="1008185"/>
                  </a:lnTo>
                  <a:lnTo>
                    <a:pt x="433754" y="762000"/>
                  </a:lnTo>
                  <a:lnTo>
                    <a:pt x="351693" y="656492"/>
                  </a:lnTo>
                  <a:lnTo>
                    <a:pt x="298939" y="562708"/>
                  </a:lnTo>
                  <a:lnTo>
                    <a:pt x="298939" y="398585"/>
                  </a:lnTo>
                  <a:lnTo>
                    <a:pt x="211016" y="140677"/>
                  </a:lnTo>
                  <a:lnTo>
                    <a:pt x="169985" y="106583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7" name="Полилиния 6"/>
            <p:cNvSpPr/>
            <p:nvPr/>
          </p:nvSpPr>
          <p:spPr>
            <a:xfrm>
              <a:off x="3190303" y="1786326"/>
              <a:ext cx="1896138" cy="1066788"/>
            </a:xfrm>
            <a:custGeom>
              <a:avLst/>
              <a:gdLst>
                <a:gd name="connsiteX0" fmla="*/ 1852246 w 1852246"/>
                <a:gd name="connsiteY0" fmla="*/ 0 h 1025769"/>
                <a:gd name="connsiteX1" fmla="*/ 1559169 w 1852246"/>
                <a:gd name="connsiteY1" fmla="*/ 52753 h 1025769"/>
                <a:gd name="connsiteX2" fmla="*/ 1254369 w 1852246"/>
                <a:gd name="connsiteY2" fmla="*/ 93784 h 1025769"/>
                <a:gd name="connsiteX3" fmla="*/ 1060938 w 1852246"/>
                <a:gd name="connsiteY3" fmla="*/ 58615 h 1025769"/>
                <a:gd name="connsiteX4" fmla="*/ 691662 w 1852246"/>
                <a:gd name="connsiteY4" fmla="*/ 52753 h 1025769"/>
                <a:gd name="connsiteX5" fmla="*/ 504092 w 1852246"/>
                <a:gd name="connsiteY5" fmla="*/ 211015 h 1025769"/>
                <a:gd name="connsiteX6" fmla="*/ 521677 w 1852246"/>
                <a:gd name="connsiteY6" fmla="*/ 480646 h 1025769"/>
                <a:gd name="connsiteX7" fmla="*/ 545123 w 1852246"/>
                <a:gd name="connsiteY7" fmla="*/ 586153 h 1025769"/>
                <a:gd name="connsiteX8" fmla="*/ 468923 w 1852246"/>
                <a:gd name="connsiteY8" fmla="*/ 715107 h 1025769"/>
                <a:gd name="connsiteX9" fmla="*/ 263769 w 1852246"/>
                <a:gd name="connsiteY9" fmla="*/ 902677 h 1025769"/>
                <a:gd name="connsiteX10" fmla="*/ 0 w 1852246"/>
                <a:gd name="connsiteY10" fmla="*/ 1025769 h 1025769"/>
                <a:gd name="connsiteX0" fmla="*/ 1852246 w 1852246"/>
                <a:gd name="connsiteY0" fmla="*/ 0 h 1025769"/>
                <a:gd name="connsiteX1" fmla="*/ 1559169 w 1852246"/>
                <a:gd name="connsiteY1" fmla="*/ 52753 h 1025769"/>
                <a:gd name="connsiteX2" fmla="*/ 1254369 w 1852246"/>
                <a:gd name="connsiteY2" fmla="*/ 93784 h 1025769"/>
                <a:gd name="connsiteX3" fmla="*/ 1060938 w 1852246"/>
                <a:gd name="connsiteY3" fmla="*/ 58615 h 1025769"/>
                <a:gd name="connsiteX4" fmla="*/ 691662 w 1852246"/>
                <a:gd name="connsiteY4" fmla="*/ 52753 h 1025769"/>
                <a:gd name="connsiteX5" fmla="*/ 504092 w 1852246"/>
                <a:gd name="connsiteY5" fmla="*/ 211015 h 1025769"/>
                <a:gd name="connsiteX6" fmla="*/ 521677 w 1852246"/>
                <a:gd name="connsiteY6" fmla="*/ 480646 h 1025769"/>
                <a:gd name="connsiteX7" fmla="*/ 545123 w 1852246"/>
                <a:gd name="connsiteY7" fmla="*/ 586153 h 1025769"/>
                <a:gd name="connsiteX8" fmla="*/ 468923 w 1852246"/>
                <a:gd name="connsiteY8" fmla="*/ 715107 h 1025769"/>
                <a:gd name="connsiteX9" fmla="*/ 263769 w 1852246"/>
                <a:gd name="connsiteY9" fmla="*/ 902677 h 1025769"/>
                <a:gd name="connsiteX10" fmla="*/ 0 w 1852246"/>
                <a:gd name="connsiteY10" fmla="*/ 1025769 h 1025769"/>
                <a:gd name="connsiteX0" fmla="*/ 1588477 w 1588477"/>
                <a:gd name="connsiteY0" fmla="*/ 0 h 902677"/>
                <a:gd name="connsiteX1" fmla="*/ 1295400 w 1588477"/>
                <a:gd name="connsiteY1" fmla="*/ 52753 h 902677"/>
                <a:gd name="connsiteX2" fmla="*/ 990600 w 1588477"/>
                <a:gd name="connsiteY2" fmla="*/ 93784 h 902677"/>
                <a:gd name="connsiteX3" fmla="*/ 797169 w 1588477"/>
                <a:gd name="connsiteY3" fmla="*/ 58615 h 902677"/>
                <a:gd name="connsiteX4" fmla="*/ 427893 w 1588477"/>
                <a:gd name="connsiteY4" fmla="*/ 52753 h 902677"/>
                <a:gd name="connsiteX5" fmla="*/ 240323 w 1588477"/>
                <a:gd name="connsiteY5" fmla="*/ 211015 h 902677"/>
                <a:gd name="connsiteX6" fmla="*/ 257908 w 1588477"/>
                <a:gd name="connsiteY6" fmla="*/ 480646 h 902677"/>
                <a:gd name="connsiteX7" fmla="*/ 281354 w 1588477"/>
                <a:gd name="connsiteY7" fmla="*/ 586153 h 902677"/>
                <a:gd name="connsiteX8" fmla="*/ 205154 w 1588477"/>
                <a:gd name="connsiteY8" fmla="*/ 715107 h 902677"/>
                <a:gd name="connsiteX9" fmla="*/ 0 w 1588477"/>
                <a:gd name="connsiteY9" fmla="*/ 902677 h 902677"/>
                <a:gd name="connsiteX0" fmla="*/ 1868568 w 1868568"/>
                <a:gd name="connsiteY0" fmla="*/ 0 h 1042247"/>
                <a:gd name="connsiteX1" fmla="*/ 1575491 w 1868568"/>
                <a:gd name="connsiteY1" fmla="*/ 52753 h 1042247"/>
                <a:gd name="connsiteX2" fmla="*/ 1270691 w 1868568"/>
                <a:gd name="connsiteY2" fmla="*/ 93784 h 1042247"/>
                <a:gd name="connsiteX3" fmla="*/ 1077260 w 1868568"/>
                <a:gd name="connsiteY3" fmla="*/ 58615 h 1042247"/>
                <a:gd name="connsiteX4" fmla="*/ 707984 w 1868568"/>
                <a:gd name="connsiteY4" fmla="*/ 52753 h 1042247"/>
                <a:gd name="connsiteX5" fmla="*/ 520414 w 1868568"/>
                <a:gd name="connsiteY5" fmla="*/ 211015 h 1042247"/>
                <a:gd name="connsiteX6" fmla="*/ 537999 w 1868568"/>
                <a:gd name="connsiteY6" fmla="*/ 480646 h 1042247"/>
                <a:gd name="connsiteX7" fmla="*/ 561445 w 1868568"/>
                <a:gd name="connsiteY7" fmla="*/ 586153 h 1042247"/>
                <a:gd name="connsiteX8" fmla="*/ 485245 w 1868568"/>
                <a:gd name="connsiteY8" fmla="*/ 715107 h 1042247"/>
                <a:gd name="connsiteX9" fmla="*/ 0 w 1868568"/>
                <a:gd name="connsiteY9" fmla="*/ 1042247 h 1042247"/>
                <a:gd name="connsiteX0" fmla="*/ 1868568 w 1868568"/>
                <a:gd name="connsiteY0" fmla="*/ 0 h 1042247"/>
                <a:gd name="connsiteX1" fmla="*/ 1575491 w 1868568"/>
                <a:gd name="connsiteY1" fmla="*/ 52753 h 1042247"/>
                <a:gd name="connsiteX2" fmla="*/ 1270691 w 1868568"/>
                <a:gd name="connsiteY2" fmla="*/ 93784 h 1042247"/>
                <a:gd name="connsiteX3" fmla="*/ 1077260 w 1868568"/>
                <a:gd name="connsiteY3" fmla="*/ 58615 h 1042247"/>
                <a:gd name="connsiteX4" fmla="*/ 707984 w 1868568"/>
                <a:gd name="connsiteY4" fmla="*/ 52753 h 1042247"/>
                <a:gd name="connsiteX5" fmla="*/ 520414 w 1868568"/>
                <a:gd name="connsiteY5" fmla="*/ 211015 h 1042247"/>
                <a:gd name="connsiteX6" fmla="*/ 537999 w 1868568"/>
                <a:gd name="connsiteY6" fmla="*/ 480646 h 1042247"/>
                <a:gd name="connsiteX7" fmla="*/ 561445 w 1868568"/>
                <a:gd name="connsiteY7" fmla="*/ 586153 h 1042247"/>
                <a:gd name="connsiteX8" fmla="*/ 485245 w 1868568"/>
                <a:gd name="connsiteY8" fmla="*/ 715107 h 1042247"/>
                <a:gd name="connsiteX9" fmla="*/ 0 w 1868568"/>
                <a:gd name="connsiteY9" fmla="*/ 1042247 h 1042247"/>
                <a:gd name="connsiteX0" fmla="*/ 1868568 w 1868568"/>
                <a:gd name="connsiteY0" fmla="*/ 0 h 1042247"/>
                <a:gd name="connsiteX1" fmla="*/ 1575491 w 1868568"/>
                <a:gd name="connsiteY1" fmla="*/ 52753 h 1042247"/>
                <a:gd name="connsiteX2" fmla="*/ 1270691 w 1868568"/>
                <a:gd name="connsiteY2" fmla="*/ 93784 h 1042247"/>
                <a:gd name="connsiteX3" fmla="*/ 1077260 w 1868568"/>
                <a:gd name="connsiteY3" fmla="*/ 58615 h 1042247"/>
                <a:gd name="connsiteX4" fmla="*/ 707984 w 1868568"/>
                <a:gd name="connsiteY4" fmla="*/ 52753 h 1042247"/>
                <a:gd name="connsiteX5" fmla="*/ 520414 w 1868568"/>
                <a:gd name="connsiteY5" fmla="*/ 211015 h 1042247"/>
                <a:gd name="connsiteX6" fmla="*/ 537999 w 1868568"/>
                <a:gd name="connsiteY6" fmla="*/ 480646 h 1042247"/>
                <a:gd name="connsiteX7" fmla="*/ 561445 w 1868568"/>
                <a:gd name="connsiteY7" fmla="*/ 586153 h 1042247"/>
                <a:gd name="connsiteX8" fmla="*/ 385062 w 1868568"/>
                <a:gd name="connsiteY8" fmla="*/ 715107 h 1042247"/>
                <a:gd name="connsiteX9" fmla="*/ 0 w 1868568"/>
                <a:gd name="connsiteY9" fmla="*/ 1042247 h 1042247"/>
                <a:gd name="connsiteX0" fmla="*/ 1868568 w 1868568"/>
                <a:gd name="connsiteY0" fmla="*/ 0 h 1042247"/>
                <a:gd name="connsiteX1" fmla="*/ 1575491 w 1868568"/>
                <a:gd name="connsiteY1" fmla="*/ 52753 h 1042247"/>
                <a:gd name="connsiteX2" fmla="*/ 1270691 w 1868568"/>
                <a:gd name="connsiteY2" fmla="*/ 93784 h 1042247"/>
                <a:gd name="connsiteX3" fmla="*/ 1077260 w 1868568"/>
                <a:gd name="connsiteY3" fmla="*/ 58615 h 1042247"/>
                <a:gd name="connsiteX4" fmla="*/ 707984 w 1868568"/>
                <a:gd name="connsiteY4" fmla="*/ 52753 h 1042247"/>
                <a:gd name="connsiteX5" fmla="*/ 520414 w 1868568"/>
                <a:gd name="connsiteY5" fmla="*/ 211015 h 1042247"/>
                <a:gd name="connsiteX6" fmla="*/ 537999 w 1868568"/>
                <a:gd name="connsiteY6" fmla="*/ 480646 h 1042247"/>
                <a:gd name="connsiteX7" fmla="*/ 561445 w 1868568"/>
                <a:gd name="connsiteY7" fmla="*/ 586153 h 1042247"/>
                <a:gd name="connsiteX8" fmla="*/ 385062 w 1868568"/>
                <a:gd name="connsiteY8" fmla="*/ 715107 h 1042247"/>
                <a:gd name="connsiteX9" fmla="*/ 0 w 1868568"/>
                <a:gd name="connsiteY9" fmla="*/ 1042247 h 104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68568" h="1042247">
                  <a:moveTo>
                    <a:pt x="1868568" y="0"/>
                  </a:moveTo>
                  <a:lnTo>
                    <a:pt x="1575491" y="52753"/>
                  </a:lnTo>
                  <a:lnTo>
                    <a:pt x="1270691" y="93784"/>
                  </a:lnTo>
                  <a:lnTo>
                    <a:pt x="1077260" y="58615"/>
                  </a:lnTo>
                  <a:lnTo>
                    <a:pt x="707984" y="52753"/>
                  </a:lnTo>
                  <a:lnTo>
                    <a:pt x="520414" y="211015"/>
                  </a:lnTo>
                  <a:lnTo>
                    <a:pt x="537999" y="480646"/>
                  </a:lnTo>
                  <a:lnTo>
                    <a:pt x="561445" y="586153"/>
                  </a:lnTo>
                  <a:lnTo>
                    <a:pt x="385062" y="715107"/>
                  </a:lnTo>
                  <a:cubicBezTo>
                    <a:pt x="250549" y="878459"/>
                    <a:pt x="180849" y="984711"/>
                    <a:pt x="0" y="1042247"/>
                  </a:cubicBez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3714866" y="2014316"/>
              <a:ext cx="1825168" cy="507022"/>
            </a:xfrm>
            <a:custGeom>
              <a:avLst/>
              <a:gdLst>
                <a:gd name="connsiteX0" fmla="*/ 1758461 w 1758461"/>
                <a:gd name="connsiteY0" fmla="*/ 509954 h 509954"/>
                <a:gd name="connsiteX1" fmla="*/ 1576754 w 1758461"/>
                <a:gd name="connsiteY1" fmla="*/ 410308 h 509954"/>
                <a:gd name="connsiteX2" fmla="*/ 1365738 w 1758461"/>
                <a:gd name="connsiteY2" fmla="*/ 363416 h 509954"/>
                <a:gd name="connsiteX3" fmla="*/ 1078523 w 1758461"/>
                <a:gd name="connsiteY3" fmla="*/ 339970 h 509954"/>
                <a:gd name="connsiteX4" fmla="*/ 744415 w 1758461"/>
                <a:gd name="connsiteY4" fmla="*/ 293077 h 509954"/>
                <a:gd name="connsiteX5" fmla="*/ 586154 w 1758461"/>
                <a:gd name="connsiteY5" fmla="*/ 252047 h 509954"/>
                <a:gd name="connsiteX6" fmla="*/ 433754 w 1758461"/>
                <a:gd name="connsiteY6" fmla="*/ 140677 h 509954"/>
                <a:gd name="connsiteX7" fmla="*/ 298938 w 1758461"/>
                <a:gd name="connsiteY7" fmla="*/ 117231 h 509954"/>
                <a:gd name="connsiteX8" fmla="*/ 140677 w 1758461"/>
                <a:gd name="connsiteY8" fmla="*/ 87924 h 509954"/>
                <a:gd name="connsiteX9" fmla="*/ 0 w 1758461"/>
                <a:gd name="connsiteY9" fmla="*/ 0 h 509954"/>
                <a:gd name="connsiteX0" fmla="*/ 1758461 w 1822501"/>
                <a:gd name="connsiteY0" fmla="*/ 509954 h 509954"/>
                <a:gd name="connsiteX1" fmla="*/ 1822501 w 1822501"/>
                <a:gd name="connsiteY1" fmla="*/ 505925 h 509954"/>
                <a:gd name="connsiteX2" fmla="*/ 1576754 w 1822501"/>
                <a:gd name="connsiteY2" fmla="*/ 410308 h 509954"/>
                <a:gd name="connsiteX3" fmla="*/ 1365738 w 1822501"/>
                <a:gd name="connsiteY3" fmla="*/ 363416 h 509954"/>
                <a:gd name="connsiteX4" fmla="*/ 1078523 w 1822501"/>
                <a:gd name="connsiteY4" fmla="*/ 339970 h 509954"/>
                <a:gd name="connsiteX5" fmla="*/ 744415 w 1822501"/>
                <a:gd name="connsiteY5" fmla="*/ 293077 h 509954"/>
                <a:gd name="connsiteX6" fmla="*/ 586154 w 1822501"/>
                <a:gd name="connsiteY6" fmla="*/ 252047 h 509954"/>
                <a:gd name="connsiteX7" fmla="*/ 433754 w 1822501"/>
                <a:gd name="connsiteY7" fmla="*/ 140677 h 509954"/>
                <a:gd name="connsiteX8" fmla="*/ 298938 w 1822501"/>
                <a:gd name="connsiteY8" fmla="*/ 117231 h 509954"/>
                <a:gd name="connsiteX9" fmla="*/ 140677 w 1822501"/>
                <a:gd name="connsiteY9" fmla="*/ 87924 h 509954"/>
                <a:gd name="connsiteX10" fmla="*/ 0 w 1822501"/>
                <a:gd name="connsiteY10" fmla="*/ 0 h 509954"/>
                <a:gd name="connsiteX0" fmla="*/ 1822501 w 1822501"/>
                <a:gd name="connsiteY0" fmla="*/ 505925 h 505925"/>
                <a:gd name="connsiteX1" fmla="*/ 1576754 w 1822501"/>
                <a:gd name="connsiteY1" fmla="*/ 410308 h 505925"/>
                <a:gd name="connsiteX2" fmla="*/ 1365738 w 1822501"/>
                <a:gd name="connsiteY2" fmla="*/ 363416 h 505925"/>
                <a:gd name="connsiteX3" fmla="*/ 1078523 w 1822501"/>
                <a:gd name="connsiteY3" fmla="*/ 339970 h 505925"/>
                <a:gd name="connsiteX4" fmla="*/ 744415 w 1822501"/>
                <a:gd name="connsiteY4" fmla="*/ 293077 h 505925"/>
                <a:gd name="connsiteX5" fmla="*/ 586154 w 1822501"/>
                <a:gd name="connsiteY5" fmla="*/ 252047 h 505925"/>
                <a:gd name="connsiteX6" fmla="*/ 433754 w 1822501"/>
                <a:gd name="connsiteY6" fmla="*/ 140677 h 505925"/>
                <a:gd name="connsiteX7" fmla="*/ 298938 w 1822501"/>
                <a:gd name="connsiteY7" fmla="*/ 117231 h 505925"/>
                <a:gd name="connsiteX8" fmla="*/ 140677 w 1822501"/>
                <a:gd name="connsiteY8" fmla="*/ 87924 h 505925"/>
                <a:gd name="connsiteX9" fmla="*/ 0 w 1822501"/>
                <a:gd name="connsiteY9" fmla="*/ 0 h 505925"/>
                <a:gd name="connsiteX0" fmla="*/ 1822501 w 1822501"/>
                <a:gd name="connsiteY0" fmla="*/ 505925 h 505925"/>
                <a:gd name="connsiteX1" fmla="*/ 1576754 w 1822501"/>
                <a:gd name="connsiteY1" fmla="*/ 410308 h 505925"/>
                <a:gd name="connsiteX2" fmla="*/ 1365738 w 1822501"/>
                <a:gd name="connsiteY2" fmla="*/ 363416 h 505925"/>
                <a:gd name="connsiteX3" fmla="*/ 1078523 w 1822501"/>
                <a:gd name="connsiteY3" fmla="*/ 339970 h 505925"/>
                <a:gd name="connsiteX4" fmla="*/ 744415 w 1822501"/>
                <a:gd name="connsiteY4" fmla="*/ 293077 h 505925"/>
                <a:gd name="connsiteX5" fmla="*/ 586154 w 1822501"/>
                <a:gd name="connsiteY5" fmla="*/ 252047 h 505925"/>
                <a:gd name="connsiteX6" fmla="*/ 657276 w 1822501"/>
                <a:gd name="connsiteY6" fmla="*/ 251926 h 505925"/>
                <a:gd name="connsiteX7" fmla="*/ 433754 w 1822501"/>
                <a:gd name="connsiteY7" fmla="*/ 140677 h 505925"/>
                <a:gd name="connsiteX8" fmla="*/ 298938 w 1822501"/>
                <a:gd name="connsiteY8" fmla="*/ 117231 h 505925"/>
                <a:gd name="connsiteX9" fmla="*/ 140677 w 1822501"/>
                <a:gd name="connsiteY9" fmla="*/ 87924 h 505925"/>
                <a:gd name="connsiteX10" fmla="*/ 0 w 1822501"/>
                <a:gd name="connsiteY10" fmla="*/ 0 h 505925"/>
                <a:gd name="connsiteX0" fmla="*/ 1822501 w 1822501"/>
                <a:gd name="connsiteY0" fmla="*/ 505925 h 505925"/>
                <a:gd name="connsiteX1" fmla="*/ 1576754 w 1822501"/>
                <a:gd name="connsiteY1" fmla="*/ 410308 h 505925"/>
                <a:gd name="connsiteX2" fmla="*/ 1365738 w 1822501"/>
                <a:gd name="connsiteY2" fmla="*/ 363416 h 505925"/>
                <a:gd name="connsiteX3" fmla="*/ 1078523 w 1822501"/>
                <a:gd name="connsiteY3" fmla="*/ 339970 h 505925"/>
                <a:gd name="connsiteX4" fmla="*/ 744415 w 1822501"/>
                <a:gd name="connsiteY4" fmla="*/ 293077 h 505925"/>
                <a:gd name="connsiteX5" fmla="*/ 657276 w 1822501"/>
                <a:gd name="connsiteY5" fmla="*/ 251926 h 505925"/>
                <a:gd name="connsiteX6" fmla="*/ 433754 w 1822501"/>
                <a:gd name="connsiteY6" fmla="*/ 140677 h 505925"/>
                <a:gd name="connsiteX7" fmla="*/ 298938 w 1822501"/>
                <a:gd name="connsiteY7" fmla="*/ 117231 h 505925"/>
                <a:gd name="connsiteX8" fmla="*/ 140677 w 1822501"/>
                <a:gd name="connsiteY8" fmla="*/ 87924 h 505925"/>
                <a:gd name="connsiteX9" fmla="*/ 0 w 1822501"/>
                <a:gd name="connsiteY9" fmla="*/ 0 h 505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2501" h="505925">
                  <a:moveTo>
                    <a:pt x="1822501" y="505925"/>
                  </a:moveTo>
                  <a:lnTo>
                    <a:pt x="1576754" y="410308"/>
                  </a:lnTo>
                  <a:lnTo>
                    <a:pt x="1365738" y="363416"/>
                  </a:lnTo>
                  <a:lnTo>
                    <a:pt x="1078523" y="339970"/>
                  </a:lnTo>
                  <a:lnTo>
                    <a:pt x="744415" y="293077"/>
                  </a:lnTo>
                  <a:lnTo>
                    <a:pt x="657276" y="251926"/>
                  </a:lnTo>
                  <a:lnTo>
                    <a:pt x="433754" y="140677"/>
                  </a:lnTo>
                  <a:lnTo>
                    <a:pt x="298938" y="117231"/>
                  </a:lnTo>
                  <a:lnTo>
                    <a:pt x="140677" y="87924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4976901" y="3292080"/>
              <a:ext cx="115712" cy="222885"/>
            </a:xfrm>
            <a:custGeom>
              <a:avLst/>
              <a:gdLst>
                <a:gd name="connsiteX0" fmla="*/ 117230 w 117230"/>
                <a:gd name="connsiteY0" fmla="*/ 222738 h 222738"/>
                <a:gd name="connsiteX1" fmla="*/ 0 w 117230"/>
                <a:gd name="connsiteY1" fmla="*/ 0 h 222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7230" h="222738">
                  <a:moveTo>
                    <a:pt x="117230" y="222738"/>
                  </a:move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405494" y="2904157"/>
              <a:ext cx="2396016" cy="646538"/>
            </a:xfrm>
            <a:custGeom>
              <a:avLst/>
              <a:gdLst>
                <a:gd name="connsiteX0" fmla="*/ 2801816 w 2801816"/>
                <a:gd name="connsiteY0" fmla="*/ 0 h 603738"/>
                <a:gd name="connsiteX1" fmla="*/ 2491154 w 2801816"/>
                <a:gd name="connsiteY1" fmla="*/ 23446 h 603738"/>
                <a:gd name="connsiteX2" fmla="*/ 2203939 w 2801816"/>
                <a:gd name="connsiteY2" fmla="*/ 117230 h 603738"/>
                <a:gd name="connsiteX3" fmla="*/ 2022231 w 2801816"/>
                <a:gd name="connsiteY3" fmla="*/ 193430 h 603738"/>
                <a:gd name="connsiteX4" fmla="*/ 1799493 w 2801816"/>
                <a:gd name="connsiteY4" fmla="*/ 322384 h 603738"/>
                <a:gd name="connsiteX5" fmla="*/ 1588477 w 2801816"/>
                <a:gd name="connsiteY5" fmla="*/ 416169 h 603738"/>
                <a:gd name="connsiteX6" fmla="*/ 1248508 w 2801816"/>
                <a:gd name="connsiteY6" fmla="*/ 539261 h 603738"/>
                <a:gd name="connsiteX7" fmla="*/ 1101970 w 2801816"/>
                <a:gd name="connsiteY7" fmla="*/ 562707 h 603738"/>
                <a:gd name="connsiteX8" fmla="*/ 955431 w 2801816"/>
                <a:gd name="connsiteY8" fmla="*/ 603738 h 603738"/>
                <a:gd name="connsiteX9" fmla="*/ 838200 w 2801816"/>
                <a:gd name="connsiteY9" fmla="*/ 509954 h 603738"/>
                <a:gd name="connsiteX10" fmla="*/ 720970 w 2801816"/>
                <a:gd name="connsiteY10" fmla="*/ 457200 h 603738"/>
                <a:gd name="connsiteX11" fmla="*/ 193431 w 2801816"/>
                <a:gd name="connsiteY11" fmla="*/ 504092 h 603738"/>
                <a:gd name="connsiteX12" fmla="*/ 0 w 2801816"/>
                <a:gd name="connsiteY12" fmla="*/ 410307 h 603738"/>
                <a:gd name="connsiteX0" fmla="*/ 2801816 w 2801816"/>
                <a:gd name="connsiteY0" fmla="*/ 0 h 603738"/>
                <a:gd name="connsiteX1" fmla="*/ 2491154 w 2801816"/>
                <a:gd name="connsiteY1" fmla="*/ 23446 h 603738"/>
                <a:gd name="connsiteX2" fmla="*/ 2203939 w 2801816"/>
                <a:gd name="connsiteY2" fmla="*/ 117230 h 603738"/>
                <a:gd name="connsiteX3" fmla="*/ 2022231 w 2801816"/>
                <a:gd name="connsiteY3" fmla="*/ 193430 h 603738"/>
                <a:gd name="connsiteX4" fmla="*/ 1799493 w 2801816"/>
                <a:gd name="connsiteY4" fmla="*/ 322384 h 603738"/>
                <a:gd name="connsiteX5" fmla="*/ 1588477 w 2801816"/>
                <a:gd name="connsiteY5" fmla="*/ 416169 h 603738"/>
                <a:gd name="connsiteX6" fmla="*/ 1248508 w 2801816"/>
                <a:gd name="connsiteY6" fmla="*/ 539261 h 603738"/>
                <a:gd name="connsiteX7" fmla="*/ 1101970 w 2801816"/>
                <a:gd name="connsiteY7" fmla="*/ 562707 h 603738"/>
                <a:gd name="connsiteX8" fmla="*/ 955431 w 2801816"/>
                <a:gd name="connsiteY8" fmla="*/ 603738 h 603738"/>
                <a:gd name="connsiteX9" fmla="*/ 838200 w 2801816"/>
                <a:gd name="connsiteY9" fmla="*/ 509954 h 603738"/>
                <a:gd name="connsiteX10" fmla="*/ 720970 w 2801816"/>
                <a:gd name="connsiteY10" fmla="*/ 457200 h 603738"/>
                <a:gd name="connsiteX11" fmla="*/ 193431 w 2801816"/>
                <a:gd name="connsiteY11" fmla="*/ 504092 h 603738"/>
                <a:gd name="connsiteX12" fmla="*/ 0 w 2801816"/>
                <a:gd name="connsiteY12" fmla="*/ 410307 h 603738"/>
                <a:gd name="connsiteX0" fmla="*/ 2917945 w 2917945"/>
                <a:gd name="connsiteY0" fmla="*/ 0 h 603738"/>
                <a:gd name="connsiteX1" fmla="*/ 2491154 w 2917945"/>
                <a:gd name="connsiteY1" fmla="*/ 23446 h 603738"/>
                <a:gd name="connsiteX2" fmla="*/ 2203939 w 2917945"/>
                <a:gd name="connsiteY2" fmla="*/ 117230 h 603738"/>
                <a:gd name="connsiteX3" fmla="*/ 2022231 w 2917945"/>
                <a:gd name="connsiteY3" fmla="*/ 193430 h 603738"/>
                <a:gd name="connsiteX4" fmla="*/ 1799493 w 2917945"/>
                <a:gd name="connsiteY4" fmla="*/ 322384 h 603738"/>
                <a:gd name="connsiteX5" fmla="*/ 1588477 w 2917945"/>
                <a:gd name="connsiteY5" fmla="*/ 416169 h 603738"/>
                <a:gd name="connsiteX6" fmla="*/ 1248508 w 2917945"/>
                <a:gd name="connsiteY6" fmla="*/ 539261 h 603738"/>
                <a:gd name="connsiteX7" fmla="*/ 1101970 w 2917945"/>
                <a:gd name="connsiteY7" fmla="*/ 562707 h 603738"/>
                <a:gd name="connsiteX8" fmla="*/ 955431 w 2917945"/>
                <a:gd name="connsiteY8" fmla="*/ 603738 h 603738"/>
                <a:gd name="connsiteX9" fmla="*/ 838200 w 2917945"/>
                <a:gd name="connsiteY9" fmla="*/ 509954 h 603738"/>
                <a:gd name="connsiteX10" fmla="*/ 720970 w 2917945"/>
                <a:gd name="connsiteY10" fmla="*/ 457200 h 603738"/>
                <a:gd name="connsiteX11" fmla="*/ 193431 w 2917945"/>
                <a:gd name="connsiteY11" fmla="*/ 504092 h 603738"/>
                <a:gd name="connsiteX12" fmla="*/ 0 w 2917945"/>
                <a:gd name="connsiteY12" fmla="*/ 410307 h 603738"/>
                <a:gd name="connsiteX0" fmla="*/ 2917945 w 2917945"/>
                <a:gd name="connsiteY0" fmla="*/ 0 h 603738"/>
                <a:gd name="connsiteX1" fmla="*/ 2491154 w 2917945"/>
                <a:gd name="connsiteY1" fmla="*/ 23446 h 603738"/>
                <a:gd name="connsiteX2" fmla="*/ 2203939 w 2917945"/>
                <a:gd name="connsiteY2" fmla="*/ 117230 h 603738"/>
                <a:gd name="connsiteX3" fmla="*/ 2022231 w 2917945"/>
                <a:gd name="connsiteY3" fmla="*/ 193430 h 603738"/>
                <a:gd name="connsiteX4" fmla="*/ 1799493 w 2917945"/>
                <a:gd name="connsiteY4" fmla="*/ 322384 h 603738"/>
                <a:gd name="connsiteX5" fmla="*/ 1588477 w 2917945"/>
                <a:gd name="connsiteY5" fmla="*/ 416169 h 603738"/>
                <a:gd name="connsiteX6" fmla="*/ 1248508 w 2917945"/>
                <a:gd name="connsiteY6" fmla="*/ 539261 h 603738"/>
                <a:gd name="connsiteX7" fmla="*/ 1101970 w 2917945"/>
                <a:gd name="connsiteY7" fmla="*/ 562707 h 603738"/>
                <a:gd name="connsiteX8" fmla="*/ 955431 w 2917945"/>
                <a:gd name="connsiteY8" fmla="*/ 603738 h 603738"/>
                <a:gd name="connsiteX9" fmla="*/ 838200 w 2917945"/>
                <a:gd name="connsiteY9" fmla="*/ 509954 h 603738"/>
                <a:gd name="connsiteX10" fmla="*/ 720970 w 2917945"/>
                <a:gd name="connsiteY10" fmla="*/ 457200 h 603738"/>
                <a:gd name="connsiteX11" fmla="*/ 193431 w 2917945"/>
                <a:gd name="connsiteY11" fmla="*/ 504092 h 603738"/>
                <a:gd name="connsiteX12" fmla="*/ 0 w 2917945"/>
                <a:gd name="connsiteY12" fmla="*/ 410307 h 603738"/>
                <a:gd name="connsiteX0" fmla="*/ 2917945 w 2917945"/>
                <a:gd name="connsiteY0" fmla="*/ 0 h 603738"/>
                <a:gd name="connsiteX1" fmla="*/ 2491154 w 2917945"/>
                <a:gd name="connsiteY1" fmla="*/ 23446 h 603738"/>
                <a:gd name="connsiteX2" fmla="*/ 2203939 w 2917945"/>
                <a:gd name="connsiteY2" fmla="*/ 117230 h 603738"/>
                <a:gd name="connsiteX3" fmla="*/ 2022231 w 2917945"/>
                <a:gd name="connsiteY3" fmla="*/ 193430 h 603738"/>
                <a:gd name="connsiteX4" fmla="*/ 1799493 w 2917945"/>
                <a:gd name="connsiteY4" fmla="*/ 322384 h 603738"/>
                <a:gd name="connsiteX5" fmla="*/ 1588477 w 2917945"/>
                <a:gd name="connsiteY5" fmla="*/ 416169 h 603738"/>
                <a:gd name="connsiteX6" fmla="*/ 1248508 w 2917945"/>
                <a:gd name="connsiteY6" fmla="*/ 539261 h 603738"/>
                <a:gd name="connsiteX7" fmla="*/ 1101970 w 2917945"/>
                <a:gd name="connsiteY7" fmla="*/ 562707 h 603738"/>
                <a:gd name="connsiteX8" fmla="*/ 955431 w 2917945"/>
                <a:gd name="connsiteY8" fmla="*/ 603738 h 603738"/>
                <a:gd name="connsiteX9" fmla="*/ 838200 w 2917945"/>
                <a:gd name="connsiteY9" fmla="*/ 509954 h 603738"/>
                <a:gd name="connsiteX10" fmla="*/ 720970 w 2917945"/>
                <a:gd name="connsiteY10" fmla="*/ 457200 h 603738"/>
                <a:gd name="connsiteX11" fmla="*/ 193431 w 2917945"/>
                <a:gd name="connsiteY11" fmla="*/ 504092 h 603738"/>
                <a:gd name="connsiteX12" fmla="*/ 0 w 2917945"/>
                <a:gd name="connsiteY12" fmla="*/ 410307 h 603738"/>
                <a:gd name="connsiteX0" fmla="*/ 2917945 w 2918024"/>
                <a:gd name="connsiteY0" fmla="*/ 0 h 603738"/>
                <a:gd name="connsiteX1" fmla="*/ 2918024 w 2918024"/>
                <a:gd name="connsiteY1" fmla="*/ 3145 h 603738"/>
                <a:gd name="connsiteX2" fmla="*/ 2491154 w 2918024"/>
                <a:gd name="connsiteY2" fmla="*/ 23446 h 603738"/>
                <a:gd name="connsiteX3" fmla="*/ 2203939 w 2918024"/>
                <a:gd name="connsiteY3" fmla="*/ 117230 h 603738"/>
                <a:gd name="connsiteX4" fmla="*/ 2022231 w 2918024"/>
                <a:gd name="connsiteY4" fmla="*/ 193430 h 603738"/>
                <a:gd name="connsiteX5" fmla="*/ 1799493 w 2918024"/>
                <a:gd name="connsiteY5" fmla="*/ 322384 h 603738"/>
                <a:gd name="connsiteX6" fmla="*/ 1588477 w 2918024"/>
                <a:gd name="connsiteY6" fmla="*/ 416169 h 603738"/>
                <a:gd name="connsiteX7" fmla="*/ 1248508 w 2918024"/>
                <a:gd name="connsiteY7" fmla="*/ 539261 h 603738"/>
                <a:gd name="connsiteX8" fmla="*/ 1101970 w 2918024"/>
                <a:gd name="connsiteY8" fmla="*/ 562707 h 603738"/>
                <a:gd name="connsiteX9" fmla="*/ 955431 w 2918024"/>
                <a:gd name="connsiteY9" fmla="*/ 603738 h 603738"/>
                <a:gd name="connsiteX10" fmla="*/ 838200 w 2918024"/>
                <a:gd name="connsiteY10" fmla="*/ 509954 h 603738"/>
                <a:gd name="connsiteX11" fmla="*/ 720970 w 2918024"/>
                <a:gd name="connsiteY11" fmla="*/ 457200 h 603738"/>
                <a:gd name="connsiteX12" fmla="*/ 193431 w 2918024"/>
                <a:gd name="connsiteY12" fmla="*/ 504092 h 603738"/>
                <a:gd name="connsiteX13" fmla="*/ 0 w 2918024"/>
                <a:gd name="connsiteY13" fmla="*/ 410307 h 603738"/>
                <a:gd name="connsiteX0" fmla="*/ 2917945 w 2917945"/>
                <a:gd name="connsiteY0" fmla="*/ 0 h 603738"/>
                <a:gd name="connsiteX1" fmla="*/ 2491154 w 2917945"/>
                <a:gd name="connsiteY1" fmla="*/ 23446 h 603738"/>
                <a:gd name="connsiteX2" fmla="*/ 2203939 w 2917945"/>
                <a:gd name="connsiteY2" fmla="*/ 117230 h 603738"/>
                <a:gd name="connsiteX3" fmla="*/ 2022231 w 2917945"/>
                <a:gd name="connsiteY3" fmla="*/ 193430 h 603738"/>
                <a:gd name="connsiteX4" fmla="*/ 1799493 w 2917945"/>
                <a:gd name="connsiteY4" fmla="*/ 322384 h 603738"/>
                <a:gd name="connsiteX5" fmla="*/ 1588477 w 2917945"/>
                <a:gd name="connsiteY5" fmla="*/ 416169 h 603738"/>
                <a:gd name="connsiteX6" fmla="*/ 1248508 w 2917945"/>
                <a:gd name="connsiteY6" fmla="*/ 539261 h 603738"/>
                <a:gd name="connsiteX7" fmla="*/ 1101970 w 2917945"/>
                <a:gd name="connsiteY7" fmla="*/ 562707 h 603738"/>
                <a:gd name="connsiteX8" fmla="*/ 955431 w 2917945"/>
                <a:gd name="connsiteY8" fmla="*/ 603738 h 603738"/>
                <a:gd name="connsiteX9" fmla="*/ 838200 w 2917945"/>
                <a:gd name="connsiteY9" fmla="*/ 509954 h 603738"/>
                <a:gd name="connsiteX10" fmla="*/ 720970 w 2917945"/>
                <a:gd name="connsiteY10" fmla="*/ 457200 h 603738"/>
                <a:gd name="connsiteX11" fmla="*/ 193431 w 2917945"/>
                <a:gd name="connsiteY11" fmla="*/ 504092 h 603738"/>
                <a:gd name="connsiteX12" fmla="*/ 0 w 2917945"/>
                <a:gd name="connsiteY12" fmla="*/ 410307 h 603738"/>
                <a:gd name="connsiteX0" fmla="*/ 2917945 w 2984132"/>
                <a:gd name="connsiteY0" fmla="*/ 0 h 603738"/>
                <a:gd name="connsiteX1" fmla="*/ 2913000 w 2984132"/>
                <a:gd name="connsiteY1" fmla="*/ 8166 h 603738"/>
                <a:gd name="connsiteX2" fmla="*/ 2491154 w 2984132"/>
                <a:gd name="connsiteY2" fmla="*/ 23446 h 603738"/>
                <a:gd name="connsiteX3" fmla="*/ 2203939 w 2984132"/>
                <a:gd name="connsiteY3" fmla="*/ 117230 h 603738"/>
                <a:gd name="connsiteX4" fmla="*/ 2022231 w 2984132"/>
                <a:gd name="connsiteY4" fmla="*/ 193430 h 603738"/>
                <a:gd name="connsiteX5" fmla="*/ 1799493 w 2984132"/>
                <a:gd name="connsiteY5" fmla="*/ 322384 h 603738"/>
                <a:gd name="connsiteX6" fmla="*/ 1588477 w 2984132"/>
                <a:gd name="connsiteY6" fmla="*/ 416169 h 603738"/>
                <a:gd name="connsiteX7" fmla="*/ 1248508 w 2984132"/>
                <a:gd name="connsiteY7" fmla="*/ 539261 h 603738"/>
                <a:gd name="connsiteX8" fmla="*/ 1101970 w 2984132"/>
                <a:gd name="connsiteY8" fmla="*/ 562707 h 603738"/>
                <a:gd name="connsiteX9" fmla="*/ 955431 w 2984132"/>
                <a:gd name="connsiteY9" fmla="*/ 603738 h 603738"/>
                <a:gd name="connsiteX10" fmla="*/ 838200 w 2984132"/>
                <a:gd name="connsiteY10" fmla="*/ 509954 h 603738"/>
                <a:gd name="connsiteX11" fmla="*/ 720970 w 2984132"/>
                <a:gd name="connsiteY11" fmla="*/ 457200 h 603738"/>
                <a:gd name="connsiteX12" fmla="*/ 193431 w 2984132"/>
                <a:gd name="connsiteY12" fmla="*/ 504092 h 603738"/>
                <a:gd name="connsiteX13" fmla="*/ 0 w 2984132"/>
                <a:gd name="connsiteY13" fmla="*/ 410307 h 603738"/>
                <a:gd name="connsiteX0" fmla="*/ 2917945 w 2917945"/>
                <a:gd name="connsiteY0" fmla="*/ 0 h 603738"/>
                <a:gd name="connsiteX1" fmla="*/ 2491154 w 2917945"/>
                <a:gd name="connsiteY1" fmla="*/ 23446 h 603738"/>
                <a:gd name="connsiteX2" fmla="*/ 2203939 w 2917945"/>
                <a:gd name="connsiteY2" fmla="*/ 117230 h 603738"/>
                <a:gd name="connsiteX3" fmla="*/ 2022231 w 2917945"/>
                <a:gd name="connsiteY3" fmla="*/ 193430 h 603738"/>
                <a:gd name="connsiteX4" fmla="*/ 1799493 w 2917945"/>
                <a:gd name="connsiteY4" fmla="*/ 322384 h 603738"/>
                <a:gd name="connsiteX5" fmla="*/ 1588477 w 2917945"/>
                <a:gd name="connsiteY5" fmla="*/ 416169 h 603738"/>
                <a:gd name="connsiteX6" fmla="*/ 1248508 w 2917945"/>
                <a:gd name="connsiteY6" fmla="*/ 539261 h 603738"/>
                <a:gd name="connsiteX7" fmla="*/ 1101970 w 2917945"/>
                <a:gd name="connsiteY7" fmla="*/ 562707 h 603738"/>
                <a:gd name="connsiteX8" fmla="*/ 955431 w 2917945"/>
                <a:gd name="connsiteY8" fmla="*/ 603738 h 603738"/>
                <a:gd name="connsiteX9" fmla="*/ 838200 w 2917945"/>
                <a:gd name="connsiteY9" fmla="*/ 509954 h 603738"/>
                <a:gd name="connsiteX10" fmla="*/ 720970 w 2917945"/>
                <a:gd name="connsiteY10" fmla="*/ 457200 h 603738"/>
                <a:gd name="connsiteX11" fmla="*/ 193431 w 2917945"/>
                <a:gd name="connsiteY11" fmla="*/ 504092 h 603738"/>
                <a:gd name="connsiteX12" fmla="*/ 0 w 2917945"/>
                <a:gd name="connsiteY12" fmla="*/ 410307 h 603738"/>
                <a:gd name="connsiteX0" fmla="*/ 2491154 w 2491154"/>
                <a:gd name="connsiteY0" fmla="*/ 0 h 580292"/>
                <a:gd name="connsiteX1" fmla="*/ 2203939 w 2491154"/>
                <a:gd name="connsiteY1" fmla="*/ 93784 h 580292"/>
                <a:gd name="connsiteX2" fmla="*/ 2022231 w 2491154"/>
                <a:gd name="connsiteY2" fmla="*/ 169984 h 580292"/>
                <a:gd name="connsiteX3" fmla="*/ 1799493 w 2491154"/>
                <a:gd name="connsiteY3" fmla="*/ 298938 h 580292"/>
                <a:gd name="connsiteX4" fmla="*/ 1588477 w 2491154"/>
                <a:gd name="connsiteY4" fmla="*/ 392723 h 580292"/>
                <a:gd name="connsiteX5" fmla="*/ 1248508 w 2491154"/>
                <a:gd name="connsiteY5" fmla="*/ 515815 h 580292"/>
                <a:gd name="connsiteX6" fmla="*/ 1101970 w 2491154"/>
                <a:gd name="connsiteY6" fmla="*/ 539261 h 580292"/>
                <a:gd name="connsiteX7" fmla="*/ 955431 w 2491154"/>
                <a:gd name="connsiteY7" fmla="*/ 580292 h 580292"/>
                <a:gd name="connsiteX8" fmla="*/ 838200 w 2491154"/>
                <a:gd name="connsiteY8" fmla="*/ 486508 h 580292"/>
                <a:gd name="connsiteX9" fmla="*/ 720970 w 2491154"/>
                <a:gd name="connsiteY9" fmla="*/ 433754 h 580292"/>
                <a:gd name="connsiteX10" fmla="*/ 193431 w 2491154"/>
                <a:gd name="connsiteY10" fmla="*/ 480646 h 580292"/>
                <a:gd name="connsiteX11" fmla="*/ 0 w 2491154"/>
                <a:gd name="connsiteY11" fmla="*/ 386861 h 580292"/>
                <a:gd name="connsiteX0" fmla="*/ 2491154 w 2491154"/>
                <a:gd name="connsiteY0" fmla="*/ 0 h 580292"/>
                <a:gd name="connsiteX1" fmla="*/ 2203939 w 2491154"/>
                <a:gd name="connsiteY1" fmla="*/ 93784 h 580292"/>
                <a:gd name="connsiteX2" fmla="*/ 2022231 w 2491154"/>
                <a:gd name="connsiteY2" fmla="*/ 169984 h 580292"/>
                <a:gd name="connsiteX3" fmla="*/ 1799493 w 2491154"/>
                <a:gd name="connsiteY3" fmla="*/ 298938 h 580292"/>
                <a:gd name="connsiteX4" fmla="*/ 1588477 w 2491154"/>
                <a:gd name="connsiteY4" fmla="*/ 392723 h 580292"/>
                <a:gd name="connsiteX5" fmla="*/ 1248508 w 2491154"/>
                <a:gd name="connsiteY5" fmla="*/ 515815 h 580292"/>
                <a:gd name="connsiteX6" fmla="*/ 1101970 w 2491154"/>
                <a:gd name="connsiteY6" fmla="*/ 539261 h 580292"/>
                <a:gd name="connsiteX7" fmla="*/ 955431 w 2491154"/>
                <a:gd name="connsiteY7" fmla="*/ 580292 h 580292"/>
                <a:gd name="connsiteX8" fmla="*/ 838200 w 2491154"/>
                <a:gd name="connsiteY8" fmla="*/ 486508 h 580292"/>
                <a:gd name="connsiteX9" fmla="*/ 720970 w 2491154"/>
                <a:gd name="connsiteY9" fmla="*/ 433754 h 580292"/>
                <a:gd name="connsiteX10" fmla="*/ 717149 w 2491154"/>
                <a:gd name="connsiteY10" fmla="*/ 506885 h 580292"/>
                <a:gd name="connsiteX11" fmla="*/ 193431 w 2491154"/>
                <a:gd name="connsiteY11" fmla="*/ 480646 h 580292"/>
                <a:gd name="connsiteX12" fmla="*/ 0 w 2491154"/>
                <a:gd name="connsiteY12" fmla="*/ 386861 h 580292"/>
                <a:gd name="connsiteX0" fmla="*/ 2491154 w 2491154"/>
                <a:gd name="connsiteY0" fmla="*/ 0 h 637119"/>
                <a:gd name="connsiteX1" fmla="*/ 2203939 w 2491154"/>
                <a:gd name="connsiteY1" fmla="*/ 93784 h 637119"/>
                <a:gd name="connsiteX2" fmla="*/ 2022231 w 2491154"/>
                <a:gd name="connsiteY2" fmla="*/ 169984 h 637119"/>
                <a:gd name="connsiteX3" fmla="*/ 1799493 w 2491154"/>
                <a:gd name="connsiteY3" fmla="*/ 298938 h 637119"/>
                <a:gd name="connsiteX4" fmla="*/ 1588477 w 2491154"/>
                <a:gd name="connsiteY4" fmla="*/ 392723 h 637119"/>
                <a:gd name="connsiteX5" fmla="*/ 1248508 w 2491154"/>
                <a:gd name="connsiteY5" fmla="*/ 515815 h 637119"/>
                <a:gd name="connsiteX6" fmla="*/ 1101970 w 2491154"/>
                <a:gd name="connsiteY6" fmla="*/ 539261 h 637119"/>
                <a:gd name="connsiteX7" fmla="*/ 955431 w 2491154"/>
                <a:gd name="connsiteY7" fmla="*/ 580292 h 637119"/>
                <a:gd name="connsiteX8" fmla="*/ 838200 w 2491154"/>
                <a:gd name="connsiteY8" fmla="*/ 486508 h 637119"/>
                <a:gd name="connsiteX9" fmla="*/ 720970 w 2491154"/>
                <a:gd name="connsiteY9" fmla="*/ 433754 h 637119"/>
                <a:gd name="connsiteX10" fmla="*/ 717149 w 2491154"/>
                <a:gd name="connsiteY10" fmla="*/ 506885 h 637119"/>
                <a:gd name="connsiteX11" fmla="*/ 415684 w 2491154"/>
                <a:gd name="connsiteY11" fmla="*/ 637119 h 637119"/>
                <a:gd name="connsiteX12" fmla="*/ 193431 w 2491154"/>
                <a:gd name="connsiteY12" fmla="*/ 480646 h 637119"/>
                <a:gd name="connsiteX13" fmla="*/ 0 w 2491154"/>
                <a:gd name="connsiteY13" fmla="*/ 386861 h 637119"/>
                <a:gd name="connsiteX0" fmla="*/ 2491154 w 2491154"/>
                <a:gd name="connsiteY0" fmla="*/ 0 h 637119"/>
                <a:gd name="connsiteX1" fmla="*/ 2203939 w 2491154"/>
                <a:gd name="connsiteY1" fmla="*/ 93784 h 637119"/>
                <a:gd name="connsiteX2" fmla="*/ 2022231 w 2491154"/>
                <a:gd name="connsiteY2" fmla="*/ 169984 h 637119"/>
                <a:gd name="connsiteX3" fmla="*/ 1799493 w 2491154"/>
                <a:gd name="connsiteY3" fmla="*/ 298938 h 637119"/>
                <a:gd name="connsiteX4" fmla="*/ 1588477 w 2491154"/>
                <a:gd name="connsiteY4" fmla="*/ 392723 h 637119"/>
                <a:gd name="connsiteX5" fmla="*/ 1248508 w 2491154"/>
                <a:gd name="connsiteY5" fmla="*/ 515815 h 637119"/>
                <a:gd name="connsiteX6" fmla="*/ 1101970 w 2491154"/>
                <a:gd name="connsiteY6" fmla="*/ 539261 h 637119"/>
                <a:gd name="connsiteX7" fmla="*/ 955431 w 2491154"/>
                <a:gd name="connsiteY7" fmla="*/ 580292 h 637119"/>
                <a:gd name="connsiteX8" fmla="*/ 838200 w 2491154"/>
                <a:gd name="connsiteY8" fmla="*/ 486508 h 637119"/>
                <a:gd name="connsiteX9" fmla="*/ 720970 w 2491154"/>
                <a:gd name="connsiteY9" fmla="*/ 433754 h 637119"/>
                <a:gd name="connsiteX10" fmla="*/ 717149 w 2491154"/>
                <a:gd name="connsiteY10" fmla="*/ 506885 h 637119"/>
                <a:gd name="connsiteX11" fmla="*/ 415684 w 2491154"/>
                <a:gd name="connsiteY11" fmla="*/ 637119 h 637119"/>
                <a:gd name="connsiteX12" fmla="*/ 193431 w 2491154"/>
                <a:gd name="connsiteY12" fmla="*/ 551232 h 637119"/>
                <a:gd name="connsiteX13" fmla="*/ 0 w 2491154"/>
                <a:gd name="connsiteY13" fmla="*/ 386861 h 637119"/>
                <a:gd name="connsiteX0" fmla="*/ 2297723 w 2297723"/>
                <a:gd name="connsiteY0" fmla="*/ 0 h 637119"/>
                <a:gd name="connsiteX1" fmla="*/ 2010508 w 2297723"/>
                <a:gd name="connsiteY1" fmla="*/ 93784 h 637119"/>
                <a:gd name="connsiteX2" fmla="*/ 1828800 w 2297723"/>
                <a:gd name="connsiteY2" fmla="*/ 169984 h 637119"/>
                <a:gd name="connsiteX3" fmla="*/ 1606062 w 2297723"/>
                <a:gd name="connsiteY3" fmla="*/ 298938 h 637119"/>
                <a:gd name="connsiteX4" fmla="*/ 1395046 w 2297723"/>
                <a:gd name="connsiteY4" fmla="*/ 392723 h 637119"/>
                <a:gd name="connsiteX5" fmla="*/ 1055077 w 2297723"/>
                <a:gd name="connsiteY5" fmla="*/ 515815 h 637119"/>
                <a:gd name="connsiteX6" fmla="*/ 908539 w 2297723"/>
                <a:gd name="connsiteY6" fmla="*/ 539261 h 637119"/>
                <a:gd name="connsiteX7" fmla="*/ 762000 w 2297723"/>
                <a:gd name="connsiteY7" fmla="*/ 580292 h 637119"/>
                <a:gd name="connsiteX8" fmla="*/ 644769 w 2297723"/>
                <a:gd name="connsiteY8" fmla="*/ 486508 h 637119"/>
                <a:gd name="connsiteX9" fmla="*/ 527539 w 2297723"/>
                <a:gd name="connsiteY9" fmla="*/ 433754 h 637119"/>
                <a:gd name="connsiteX10" fmla="*/ 523718 w 2297723"/>
                <a:gd name="connsiteY10" fmla="*/ 506885 h 637119"/>
                <a:gd name="connsiteX11" fmla="*/ 222253 w 2297723"/>
                <a:gd name="connsiteY11" fmla="*/ 637119 h 637119"/>
                <a:gd name="connsiteX12" fmla="*/ 0 w 2297723"/>
                <a:gd name="connsiteY12" fmla="*/ 551232 h 637119"/>
                <a:gd name="connsiteX0" fmla="*/ 2368411 w 2368411"/>
                <a:gd name="connsiteY0" fmla="*/ 0 h 637119"/>
                <a:gd name="connsiteX1" fmla="*/ 2081196 w 2368411"/>
                <a:gd name="connsiteY1" fmla="*/ 93784 h 637119"/>
                <a:gd name="connsiteX2" fmla="*/ 1899488 w 2368411"/>
                <a:gd name="connsiteY2" fmla="*/ 169984 h 637119"/>
                <a:gd name="connsiteX3" fmla="*/ 1676750 w 2368411"/>
                <a:gd name="connsiteY3" fmla="*/ 298938 h 637119"/>
                <a:gd name="connsiteX4" fmla="*/ 1465734 w 2368411"/>
                <a:gd name="connsiteY4" fmla="*/ 392723 h 637119"/>
                <a:gd name="connsiteX5" fmla="*/ 1125765 w 2368411"/>
                <a:gd name="connsiteY5" fmla="*/ 515815 h 637119"/>
                <a:gd name="connsiteX6" fmla="*/ 979227 w 2368411"/>
                <a:gd name="connsiteY6" fmla="*/ 539261 h 637119"/>
                <a:gd name="connsiteX7" fmla="*/ 832688 w 2368411"/>
                <a:gd name="connsiteY7" fmla="*/ 580292 h 637119"/>
                <a:gd name="connsiteX8" fmla="*/ 715457 w 2368411"/>
                <a:gd name="connsiteY8" fmla="*/ 486508 h 637119"/>
                <a:gd name="connsiteX9" fmla="*/ 598227 w 2368411"/>
                <a:gd name="connsiteY9" fmla="*/ 433754 h 637119"/>
                <a:gd name="connsiteX10" fmla="*/ 594406 w 2368411"/>
                <a:gd name="connsiteY10" fmla="*/ 506885 h 637119"/>
                <a:gd name="connsiteX11" fmla="*/ 292941 w 2368411"/>
                <a:gd name="connsiteY11" fmla="*/ 637119 h 637119"/>
                <a:gd name="connsiteX12" fmla="*/ 0 w 2368411"/>
                <a:gd name="connsiteY12" fmla="*/ 551233 h 637119"/>
                <a:gd name="connsiteX0" fmla="*/ 2368411 w 2368411"/>
                <a:gd name="connsiteY0" fmla="*/ 0 h 637119"/>
                <a:gd name="connsiteX1" fmla="*/ 2081196 w 2368411"/>
                <a:gd name="connsiteY1" fmla="*/ 93784 h 637119"/>
                <a:gd name="connsiteX2" fmla="*/ 1899488 w 2368411"/>
                <a:gd name="connsiteY2" fmla="*/ 169984 h 637119"/>
                <a:gd name="connsiteX3" fmla="*/ 1676750 w 2368411"/>
                <a:gd name="connsiteY3" fmla="*/ 298938 h 637119"/>
                <a:gd name="connsiteX4" fmla="*/ 1465734 w 2368411"/>
                <a:gd name="connsiteY4" fmla="*/ 392723 h 637119"/>
                <a:gd name="connsiteX5" fmla="*/ 1125765 w 2368411"/>
                <a:gd name="connsiteY5" fmla="*/ 515815 h 637119"/>
                <a:gd name="connsiteX6" fmla="*/ 979227 w 2368411"/>
                <a:gd name="connsiteY6" fmla="*/ 539261 h 637119"/>
                <a:gd name="connsiteX7" fmla="*/ 832688 w 2368411"/>
                <a:gd name="connsiteY7" fmla="*/ 580292 h 637119"/>
                <a:gd name="connsiteX8" fmla="*/ 715457 w 2368411"/>
                <a:gd name="connsiteY8" fmla="*/ 486508 h 637119"/>
                <a:gd name="connsiteX9" fmla="*/ 594406 w 2368411"/>
                <a:gd name="connsiteY9" fmla="*/ 506885 h 637119"/>
                <a:gd name="connsiteX10" fmla="*/ 292941 w 2368411"/>
                <a:gd name="connsiteY10" fmla="*/ 637119 h 637119"/>
                <a:gd name="connsiteX11" fmla="*/ 0 w 2368411"/>
                <a:gd name="connsiteY11" fmla="*/ 551233 h 637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68411" h="637119">
                  <a:moveTo>
                    <a:pt x="2368411" y="0"/>
                  </a:moveTo>
                  <a:lnTo>
                    <a:pt x="2081196" y="93784"/>
                  </a:lnTo>
                  <a:lnTo>
                    <a:pt x="1899488" y="169984"/>
                  </a:lnTo>
                  <a:lnTo>
                    <a:pt x="1676750" y="298938"/>
                  </a:lnTo>
                  <a:lnTo>
                    <a:pt x="1465734" y="392723"/>
                  </a:lnTo>
                  <a:lnTo>
                    <a:pt x="1125765" y="515815"/>
                  </a:lnTo>
                  <a:lnTo>
                    <a:pt x="979227" y="539261"/>
                  </a:lnTo>
                  <a:lnTo>
                    <a:pt x="832688" y="580292"/>
                  </a:lnTo>
                  <a:lnTo>
                    <a:pt x="715457" y="486508"/>
                  </a:lnTo>
                  <a:lnTo>
                    <a:pt x="594406" y="506885"/>
                  </a:lnTo>
                  <a:lnTo>
                    <a:pt x="292941" y="637119"/>
                  </a:lnTo>
                  <a:lnTo>
                    <a:pt x="0" y="551233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4441538" y="2310362"/>
              <a:ext cx="106456" cy="544453"/>
            </a:xfrm>
            <a:custGeom>
              <a:avLst/>
              <a:gdLst>
                <a:gd name="connsiteX0" fmla="*/ 3810 w 106680"/>
                <a:gd name="connsiteY0" fmla="*/ 0 h 544830"/>
                <a:gd name="connsiteX1" fmla="*/ 34290 w 106680"/>
                <a:gd name="connsiteY1" fmla="*/ 205740 h 544830"/>
                <a:gd name="connsiteX2" fmla="*/ 0 w 106680"/>
                <a:gd name="connsiteY2" fmla="*/ 300990 h 544830"/>
                <a:gd name="connsiteX3" fmla="*/ 106680 w 106680"/>
                <a:gd name="connsiteY3" fmla="*/ 544830 h 544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680" h="544830">
                  <a:moveTo>
                    <a:pt x="3810" y="0"/>
                  </a:moveTo>
                  <a:lnTo>
                    <a:pt x="34290" y="205740"/>
                  </a:lnTo>
                  <a:lnTo>
                    <a:pt x="0" y="300990"/>
                  </a:lnTo>
                  <a:lnTo>
                    <a:pt x="106680" y="54483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825144" y="3433297"/>
              <a:ext cx="1038325" cy="1418981"/>
            </a:xfrm>
            <a:custGeom>
              <a:avLst/>
              <a:gdLst>
                <a:gd name="connsiteX0" fmla="*/ 782425 w 1036948"/>
                <a:gd name="connsiteY0" fmla="*/ 0 h 1348033"/>
                <a:gd name="connsiteX1" fmla="*/ 914400 w 1036948"/>
                <a:gd name="connsiteY1" fmla="*/ 480767 h 1348033"/>
                <a:gd name="connsiteX2" fmla="*/ 1036948 w 1036948"/>
                <a:gd name="connsiteY2" fmla="*/ 791851 h 1348033"/>
                <a:gd name="connsiteX3" fmla="*/ 952107 w 1036948"/>
                <a:gd name="connsiteY3" fmla="*/ 895546 h 1348033"/>
                <a:gd name="connsiteX4" fmla="*/ 641022 w 1036948"/>
                <a:gd name="connsiteY4" fmla="*/ 1036948 h 1348033"/>
                <a:gd name="connsiteX5" fmla="*/ 433633 w 1036948"/>
                <a:gd name="connsiteY5" fmla="*/ 1112363 h 1348033"/>
                <a:gd name="connsiteX6" fmla="*/ 254523 w 1036948"/>
                <a:gd name="connsiteY6" fmla="*/ 1036948 h 1348033"/>
                <a:gd name="connsiteX7" fmla="*/ 0 w 1036948"/>
                <a:gd name="connsiteY7" fmla="*/ 1036948 h 1348033"/>
                <a:gd name="connsiteX8" fmla="*/ 0 w 1036948"/>
                <a:gd name="connsiteY8" fmla="*/ 1159497 h 1348033"/>
                <a:gd name="connsiteX9" fmla="*/ 65987 w 1036948"/>
                <a:gd name="connsiteY9" fmla="*/ 1244338 h 1348033"/>
                <a:gd name="connsiteX10" fmla="*/ 150829 w 1036948"/>
                <a:gd name="connsiteY10" fmla="*/ 1282045 h 1348033"/>
                <a:gd name="connsiteX11" fmla="*/ 216816 w 1036948"/>
                <a:gd name="connsiteY11" fmla="*/ 1263192 h 1348033"/>
                <a:gd name="connsiteX12" fmla="*/ 405352 w 1036948"/>
                <a:gd name="connsiteY12" fmla="*/ 1348033 h 1348033"/>
                <a:gd name="connsiteX0" fmla="*/ 782425 w 1036948"/>
                <a:gd name="connsiteY0" fmla="*/ 0 h 1348033"/>
                <a:gd name="connsiteX1" fmla="*/ 914400 w 1036948"/>
                <a:gd name="connsiteY1" fmla="*/ 480767 h 1348033"/>
                <a:gd name="connsiteX2" fmla="*/ 1036948 w 1036948"/>
                <a:gd name="connsiteY2" fmla="*/ 791851 h 1348033"/>
                <a:gd name="connsiteX3" fmla="*/ 952107 w 1036948"/>
                <a:gd name="connsiteY3" fmla="*/ 895546 h 1348033"/>
                <a:gd name="connsiteX4" fmla="*/ 641022 w 1036948"/>
                <a:gd name="connsiteY4" fmla="*/ 1036948 h 1348033"/>
                <a:gd name="connsiteX5" fmla="*/ 433633 w 1036948"/>
                <a:gd name="connsiteY5" fmla="*/ 1112363 h 1348033"/>
                <a:gd name="connsiteX6" fmla="*/ 254523 w 1036948"/>
                <a:gd name="connsiteY6" fmla="*/ 1036948 h 1348033"/>
                <a:gd name="connsiteX7" fmla="*/ 0 w 1036948"/>
                <a:gd name="connsiteY7" fmla="*/ 1108362 h 1348033"/>
                <a:gd name="connsiteX8" fmla="*/ 0 w 1036948"/>
                <a:gd name="connsiteY8" fmla="*/ 1159497 h 1348033"/>
                <a:gd name="connsiteX9" fmla="*/ 65987 w 1036948"/>
                <a:gd name="connsiteY9" fmla="*/ 1244338 h 1348033"/>
                <a:gd name="connsiteX10" fmla="*/ 150829 w 1036948"/>
                <a:gd name="connsiteY10" fmla="*/ 1282045 h 1348033"/>
                <a:gd name="connsiteX11" fmla="*/ 216816 w 1036948"/>
                <a:gd name="connsiteY11" fmla="*/ 1263192 h 1348033"/>
                <a:gd name="connsiteX12" fmla="*/ 405352 w 1036948"/>
                <a:gd name="connsiteY12" fmla="*/ 1348033 h 1348033"/>
                <a:gd name="connsiteX0" fmla="*/ 782425 w 1036948"/>
                <a:gd name="connsiteY0" fmla="*/ 0 h 1348033"/>
                <a:gd name="connsiteX1" fmla="*/ 914400 w 1036948"/>
                <a:gd name="connsiteY1" fmla="*/ 480767 h 1348033"/>
                <a:gd name="connsiteX2" fmla="*/ 1036948 w 1036948"/>
                <a:gd name="connsiteY2" fmla="*/ 791851 h 1348033"/>
                <a:gd name="connsiteX3" fmla="*/ 952107 w 1036948"/>
                <a:gd name="connsiteY3" fmla="*/ 895546 h 1348033"/>
                <a:gd name="connsiteX4" fmla="*/ 641022 w 1036948"/>
                <a:gd name="connsiteY4" fmla="*/ 1036948 h 1348033"/>
                <a:gd name="connsiteX5" fmla="*/ 433633 w 1036948"/>
                <a:gd name="connsiteY5" fmla="*/ 1112363 h 1348033"/>
                <a:gd name="connsiteX6" fmla="*/ 323354 w 1036948"/>
                <a:gd name="connsiteY6" fmla="*/ 998931 h 1348033"/>
                <a:gd name="connsiteX7" fmla="*/ 254523 w 1036948"/>
                <a:gd name="connsiteY7" fmla="*/ 1036948 h 1348033"/>
                <a:gd name="connsiteX8" fmla="*/ 0 w 1036948"/>
                <a:gd name="connsiteY8" fmla="*/ 1108362 h 1348033"/>
                <a:gd name="connsiteX9" fmla="*/ 0 w 1036948"/>
                <a:gd name="connsiteY9" fmla="*/ 1159497 h 1348033"/>
                <a:gd name="connsiteX10" fmla="*/ 65987 w 1036948"/>
                <a:gd name="connsiteY10" fmla="*/ 1244338 h 1348033"/>
                <a:gd name="connsiteX11" fmla="*/ 150829 w 1036948"/>
                <a:gd name="connsiteY11" fmla="*/ 1282045 h 1348033"/>
                <a:gd name="connsiteX12" fmla="*/ 216816 w 1036948"/>
                <a:gd name="connsiteY12" fmla="*/ 1263192 h 1348033"/>
                <a:gd name="connsiteX13" fmla="*/ 405352 w 1036948"/>
                <a:gd name="connsiteY13" fmla="*/ 1348033 h 1348033"/>
                <a:gd name="connsiteX0" fmla="*/ 782425 w 1036948"/>
                <a:gd name="connsiteY0" fmla="*/ 0 h 1348033"/>
                <a:gd name="connsiteX1" fmla="*/ 914400 w 1036948"/>
                <a:gd name="connsiteY1" fmla="*/ 480767 h 1348033"/>
                <a:gd name="connsiteX2" fmla="*/ 1036948 w 1036948"/>
                <a:gd name="connsiteY2" fmla="*/ 791851 h 1348033"/>
                <a:gd name="connsiteX3" fmla="*/ 952107 w 1036948"/>
                <a:gd name="connsiteY3" fmla="*/ 895546 h 1348033"/>
                <a:gd name="connsiteX4" fmla="*/ 641022 w 1036948"/>
                <a:gd name="connsiteY4" fmla="*/ 1036948 h 1348033"/>
                <a:gd name="connsiteX5" fmla="*/ 433633 w 1036948"/>
                <a:gd name="connsiteY5" fmla="*/ 1112363 h 1348033"/>
                <a:gd name="connsiteX6" fmla="*/ 323354 w 1036948"/>
                <a:gd name="connsiteY6" fmla="*/ 998931 h 1348033"/>
                <a:gd name="connsiteX7" fmla="*/ 254523 w 1036948"/>
                <a:gd name="connsiteY7" fmla="*/ 1036948 h 1348033"/>
                <a:gd name="connsiteX8" fmla="*/ 0 w 1036948"/>
                <a:gd name="connsiteY8" fmla="*/ 1108362 h 1348033"/>
                <a:gd name="connsiteX9" fmla="*/ 0 w 1036948"/>
                <a:gd name="connsiteY9" fmla="*/ 1159497 h 1348033"/>
                <a:gd name="connsiteX10" fmla="*/ 65987 w 1036948"/>
                <a:gd name="connsiteY10" fmla="*/ 1244338 h 1348033"/>
                <a:gd name="connsiteX11" fmla="*/ 150829 w 1036948"/>
                <a:gd name="connsiteY11" fmla="*/ 1282045 h 1348033"/>
                <a:gd name="connsiteX12" fmla="*/ 216816 w 1036948"/>
                <a:gd name="connsiteY12" fmla="*/ 1263192 h 1348033"/>
                <a:gd name="connsiteX13" fmla="*/ 220992 w 1036948"/>
                <a:gd name="connsiteY13" fmla="*/ 1265631 h 1348033"/>
                <a:gd name="connsiteX14" fmla="*/ 405352 w 1036948"/>
                <a:gd name="connsiteY14" fmla="*/ 1348033 h 1348033"/>
                <a:gd name="connsiteX0" fmla="*/ 782425 w 1036948"/>
                <a:gd name="connsiteY0" fmla="*/ 0 h 1419447"/>
                <a:gd name="connsiteX1" fmla="*/ 914400 w 1036948"/>
                <a:gd name="connsiteY1" fmla="*/ 480767 h 1419447"/>
                <a:gd name="connsiteX2" fmla="*/ 1036948 w 1036948"/>
                <a:gd name="connsiteY2" fmla="*/ 791851 h 1419447"/>
                <a:gd name="connsiteX3" fmla="*/ 952107 w 1036948"/>
                <a:gd name="connsiteY3" fmla="*/ 895546 h 1419447"/>
                <a:gd name="connsiteX4" fmla="*/ 641022 w 1036948"/>
                <a:gd name="connsiteY4" fmla="*/ 1036948 h 1419447"/>
                <a:gd name="connsiteX5" fmla="*/ 433633 w 1036948"/>
                <a:gd name="connsiteY5" fmla="*/ 1112363 h 1419447"/>
                <a:gd name="connsiteX6" fmla="*/ 323354 w 1036948"/>
                <a:gd name="connsiteY6" fmla="*/ 998931 h 1419447"/>
                <a:gd name="connsiteX7" fmla="*/ 254523 w 1036948"/>
                <a:gd name="connsiteY7" fmla="*/ 1036948 h 1419447"/>
                <a:gd name="connsiteX8" fmla="*/ 0 w 1036948"/>
                <a:gd name="connsiteY8" fmla="*/ 1108362 h 1419447"/>
                <a:gd name="connsiteX9" fmla="*/ 0 w 1036948"/>
                <a:gd name="connsiteY9" fmla="*/ 1159497 h 1419447"/>
                <a:gd name="connsiteX10" fmla="*/ 65987 w 1036948"/>
                <a:gd name="connsiteY10" fmla="*/ 1244338 h 1419447"/>
                <a:gd name="connsiteX11" fmla="*/ 150829 w 1036948"/>
                <a:gd name="connsiteY11" fmla="*/ 1282045 h 1419447"/>
                <a:gd name="connsiteX12" fmla="*/ 216816 w 1036948"/>
                <a:gd name="connsiteY12" fmla="*/ 1263192 h 1419447"/>
                <a:gd name="connsiteX13" fmla="*/ 220992 w 1036948"/>
                <a:gd name="connsiteY13" fmla="*/ 1265631 h 1419447"/>
                <a:gd name="connsiteX14" fmla="*/ 405352 w 1036948"/>
                <a:gd name="connsiteY14" fmla="*/ 1419447 h 1419447"/>
                <a:gd name="connsiteX0" fmla="*/ 782425 w 1036948"/>
                <a:gd name="connsiteY0" fmla="*/ 0 h 1419447"/>
                <a:gd name="connsiteX1" fmla="*/ 914400 w 1036948"/>
                <a:gd name="connsiteY1" fmla="*/ 480767 h 1419447"/>
                <a:gd name="connsiteX2" fmla="*/ 1036948 w 1036948"/>
                <a:gd name="connsiteY2" fmla="*/ 791851 h 1419447"/>
                <a:gd name="connsiteX3" fmla="*/ 952107 w 1036948"/>
                <a:gd name="connsiteY3" fmla="*/ 895546 h 1419447"/>
                <a:gd name="connsiteX4" fmla="*/ 641022 w 1036948"/>
                <a:gd name="connsiteY4" fmla="*/ 1036948 h 1419447"/>
                <a:gd name="connsiteX5" fmla="*/ 433633 w 1036948"/>
                <a:gd name="connsiteY5" fmla="*/ 1112363 h 1419447"/>
                <a:gd name="connsiteX6" fmla="*/ 323354 w 1036948"/>
                <a:gd name="connsiteY6" fmla="*/ 998931 h 1419447"/>
                <a:gd name="connsiteX7" fmla="*/ 254523 w 1036948"/>
                <a:gd name="connsiteY7" fmla="*/ 1036948 h 1419447"/>
                <a:gd name="connsiteX8" fmla="*/ 0 w 1036948"/>
                <a:gd name="connsiteY8" fmla="*/ 1108362 h 1419447"/>
                <a:gd name="connsiteX9" fmla="*/ 0 w 1036948"/>
                <a:gd name="connsiteY9" fmla="*/ 1159497 h 1419447"/>
                <a:gd name="connsiteX10" fmla="*/ 65987 w 1036948"/>
                <a:gd name="connsiteY10" fmla="*/ 1244338 h 1419447"/>
                <a:gd name="connsiteX11" fmla="*/ 150829 w 1036948"/>
                <a:gd name="connsiteY11" fmla="*/ 1282045 h 1419447"/>
                <a:gd name="connsiteX12" fmla="*/ 216816 w 1036948"/>
                <a:gd name="connsiteY12" fmla="*/ 1263192 h 1419447"/>
                <a:gd name="connsiteX13" fmla="*/ 220992 w 1036948"/>
                <a:gd name="connsiteY13" fmla="*/ 1265631 h 1419447"/>
                <a:gd name="connsiteX14" fmla="*/ 223373 w 1036948"/>
                <a:gd name="connsiteY14" fmla="*/ 1268013 h 1419447"/>
                <a:gd name="connsiteX15" fmla="*/ 405352 w 1036948"/>
                <a:gd name="connsiteY15" fmla="*/ 1419447 h 141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036948" h="1419447">
                  <a:moveTo>
                    <a:pt x="782425" y="0"/>
                  </a:moveTo>
                  <a:lnTo>
                    <a:pt x="914400" y="480767"/>
                  </a:lnTo>
                  <a:lnTo>
                    <a:pt x="1036948" y="791851"/>
                  </a:lnTo>
                  <a:lnTo>
                    <a:pt x="952107" y="895546"/>
                  </a:lnTo>
                  <a:lnTo>
                    <a:pt x="641022" y="1036948"/>
                  </a:lnTo>
                  <a:lnTo>
                    <a:pt x="433633" y="1112363"/>
                  </a:lnTo>
                  <a:lnTo>
                    <a:pt x="323354" y="998931"/>
                  </a:lnTo>
                  <a:lnTo>
                    <a:pt x="254523" y="1036948"/>
                  </a:lnTo>
                  <a:lnTo>
                    <a:pt x="0" y="1108362"/>
                  </a:lnTo>
                  <a:lnTo>
                    <a:pt x="0" y="1159497"/>
                  </a:lnTo>
                  <a:lnTo>
                    <a:pt x="65987" y="1244338"/>
                  </a:lnTo>
                  <a:lnTo>
                    <a:pt x="150829" y="1282045"/>
                  </a:lnTo>
                  <a:lnTo>
                    <a:pt x="216816" y="1263192"/>
                  </a:lnTo>
                  <a:lnTo>
                    <a:pt x="220992" y="1265631"/>
                  </a:lnTo>
                  <a:lnTo>
                    <a:pt x="223373" y="1268013"/>
                  </a:lnTo>
                  <a:lnTo>
                    <a:pt x="405352" y="1419447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6150994" y="4724672"/>
              <a:ext cx="47828" cy="328373"/>
            </a:xfrm>
            <a:custGeom>
              <a:avLst/>
              <a:gdLst>
                <a:gd name="connsiteX0" fmla="*/ 47134 w 47134"/>
                <a:gd name="connsiteY0" fmla="*/ 0 h 329938"/>
                <a:gd name="connsiteX1" fmla="*/ 0 w 47134"/>
                <a:gd name="connsiteY1" fmla="*/ 131975 h 329938"/>
                <a:gd name="connsiteX2" fmla="*/ 47134 w 47134"/>
                <a:gd name="connsiteY2" fmla="*/ 329938 h 32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7134" h="329938">
                  <a:moveTo>
                    <a:pt x="47134" y="0"/>
                  </a:moveTo>
                  <a:lnTo>
                    <a:pt x="0" y="131975"/>
                  </a:lnTo>
                  <a:lnTo>
                    <a:pt x="47134" y="329938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5499920" y="2038136"/>
              <a:ext cx="2130649" cy="1706521"/>
            </a:xfrm>
            <a:custGeom>
              <a:avLst/>
              <a:gdLst>
                <a:gd name="connsiteX0" fmla="*/ 0 w 2064470"/>
                <a:gd name="connsiteY0" fmla="*/ 490194 h 1706251"/>
                <a:gd name="connsiteX1" fmla="*/ 207390 w 2064470"/>
                <a:gd name="connsiteY1" fmla="*/ 339365 h 1706251"/>
                <a:gd name="connsiteX2" fmla="*/ 301658 w 2064470"/>
                <a:gd name="connsiteY2" fmla="*/ 282804 h 1706251"/>
                <a:gd name="connsiteX3" fmla="*/ 433633 w 2064470"/>
                <a:gd name="connsiteY3" fmla="*/ 282804 h 1706251"/>
                <a:gd name="connsiteX4" fmla="*/ 650449 w 2064470"/>
                <a:gd name="connsiteY4" fmla="*/ 263950 h 1706251"/>
                <a:gd name="connsiteX5" fmla="*/ 820132 w 2064470"/>
                <a:gd name="connsiteY5" fmla="*/ 197963 h 1706251"/>
                <a:gd name="connsiteX6" fmla="*/ 914400 w 2064470"/>
                <a:gd name="connsiteY6" fmla="*/ 75414 h 1706251"/>
                <a:gd name="connsiteX7" fmla="*/ 999241 w 2064470"/>
                <a:gd name="connsiteY7" fmla="*/ 0 h 1706251"/>
                <a:gd name="connsiteX8" fmla="*/ 1140643 w 2064470"/>
                <a:gd name="connsiteY8" fmla="*/ 216816 h 1706251"/>
                <a:gd name="connsiteX9" fmla="*/ 1206631 w 2064470"/>
                <a:gd name="connsiteY9" fmla="*/ 320511 h 1706251"/>
                <a:gd name="connsiteX10" fmla="*/ 1310326 w 2064470"/>
                <a:gd name="connsiteY10" fmla="*/ 433633 h 1706251"/>
                <a:gd name="connsiteX11" fmla="*/ 1489435 w 2064470"/>
                <a:gd name="connsiteY11" fmla="*/ 480767 h 1706251"/>
                <a:gd name="connsiteX12" fmla="*/ 1753385 w 2064470"/>
                <a:gd name="connsiteY12" fmla="*/ 499621 h 1706251"/>
                <a:gd name="connsiteX13" fmla="*/ 1828800 w 2064470"/>
                <a:gd name="connsiteY13" fmla="*/ 603315 h 1706251"/>
                <a:gd name="connsiteX14" fmla="*/ 1932495 w 2064470"/>
                <a:gd name="connsiteY14" fmla="*/ 725864 h 1706251"/>
                <a:gd name="connsiteX15" fmla="*/ 2064470 w 2064470"/>
                <a:gd name="connsiteY15" fmla="*/ 820132 h 1706251"/>
                <a:gd name="connsiteX16" fmla="*/ 1979629 w 2064470"/>
                <a:gd name="connsiteY16" fmla="*/ 933254 h 1706251"/>
                <a:gd name="connsiteX17" fmla="*/ 1998482 w 2064470"/>
                <a:gd name="connsiteY17" fmla="*/ 1074656 h 1706251"/>
                <a:gd name="connsiteX18" fmla="*/ 1913641 w 2064470"/>
                <a:gd name="connsiteY18" fmla="*/ 1216058 h 1706251"/>
                <a:gd name="connsiteX19" fmla="*/ 1932495 w 2064470"/>
                <a:gd name="connsiteY19" fmla="*/ 1338606 h 1706251"/>
                <a:gd name="connsiteX20" fmla="*/ 1885361 w 2064470"/>
                <a:gd name="connsiteY20" fmla="*/ 1527142 h 1706251"/>
                <a:gd name="connsiteX21" fmla="*/ 1838227 w 2064470"/>
                <a:gd name="connsiteY21" fmla="*/ 1593130 h 1706251"/>
                <a:gd name="connsiteX22" fmla="*/ 1819373 w 2064470"/>
                <a:gd name="connsiteY22" fmla="*/ 1706251 h 1706251"/>
                <a:gd name="connsiteX0" fmla="*/ 0 w 2064470"/>
                <a:gd name="connsiteY0" fmla="*/ 490194 h 1706251"/>
                <a:gd name="connsiteX1" fmla="*/ 5195 w 2064470"/>
                <a:gd name="connsiteY1" fmla="*/ 483566 h 1706251"/>
                <a:gd name="connsiteX2" fmla="*/ 207390 w 2064470"/>
                <a:gd name="connsiteY2" fmla="*/ 339365 h 1706251"/>
                <a:gd name="connsiteX3" fmla="*/ 301658 w 2064470"/>
                <a:gd name="connsiteY3" fmla="*/ 282804 h 1706251"/>
                <a:gd name="connsiteX4" fmla="*/ 433633 w 2064470"/>
                <a:gd name="connsiteY4" fmla="*/ 282804 h 1706251"/>
                <a:gd name="connsiteX5" fmla="*/ 650449 w 2064470"/>
                <a:gd name="connsiteY5" fmla="*/ 263950 h 1706251"/>
                <a:gd name="connsiteX6" fmla="*/ 820132 w 2064470"/>
                <a:gd name="connsiteY6" fmla="*/ 197963 h 1706251"/>
                <a:gd name="connsiteX7" fmla="*/ 914400 w 2064470"/>
                <a:gd name="connsiteY7" fmla="*/ 75414 h 1706251"/>
                <a:gd name="connsiteX8" fmla="*/ 999241 w 2064470"/>
                <a:gd name="connsiteY8" fmla="*/ 0 h 1706251"/>
                <a:gd name="connsiteX9" fmla="*/ 1140643 w 2064470"/>
                <a:gd name="connsiteY9" fmla="*/ 216816 h 1706251"/>
                <a:gd name="connsiteX10" fmla="*/ 1206631 w 2064470"/>
                <a:gd name="connsiteY10" fmla="*/ 320511 h 1706251"/>
                <a:gd name="connsiteX11" fmla="*/ 1310326 w 2064470"/>
                <a:gd name="connsiteY11" fmla="*/ 433633 h 1706251"/>
                <a:gd name="connsiteX12" fmla="*/ 1489435 w 2064470"/>
                <a:gd name="connsiteY12" fmla="*/ 480767 h 1706251"/>
                <a:gd name="connsiteX13" fmla="*/ 1753385 w 2064470"/>
                <a:gd name="connsiteY13" fmla="*/ 499621 h 1706251"/>
                <a:gd name="connsiteX14" fmla="*/ 1828800 w 2064470"/>
                <a:gd name="connsiteY14" fmla="*/ 603315 h 1706251"/>
                <a:gd name="connsiteX15" fmla="*/ 1932495 w 2064470"/>
                <a:gd name="connsiteY15" fmla="*/ 725864 h 1706251"/>
                <a:gd name="connsiteX16" fmla="*/ 2064470 w 2064470"/>
                <a:gd name="connsiteY16" fmla="*/ 820132 h 1706251"/>
                <a:gd name="connsiteX17" fmla="*/ 1979629 w 2064470"/>
                <a:gd name="connsiteY17" fmla="*/ 933254 h 1706251"/>
                <a:gd name="connsiteX18" fmla="*/ 1998482 w 2064470"/>
                <a:gd name="connsiteY18" fmla="*/ 1074656 h 1706251"/>
                <a:gd name="connsiteX19" fmla="*/ 1913641 w 2064470"/>
                <a:gd name="connsiteY19" fmla="*/ 1216058 h 1706251"/>
                <a:gd name="connsiteX20" fmla="*/ 1932495 w 2064470"/>
                <a:gd name="connsiteY20" fmla="*/ 1338606 h 1706251"/>
                <a:gd name="connsiteX21" fmla="*/ 1885361 w 2064470"/>
                <a:gd name="connsiteY21" fmla="*/ 1527142 h 1706251"/>
                <a:gd name="connsiteX22" fmla="*/ 1838227 w 2064470"/>
                <a:gd name="connsiteY22" fmla="*/ 1593130 h 1706251"/>
                <a:gd name="connsiteX23" fmla="*/ 1819373 w 2064470"/>
                <a:gd name="connsiteY23" fmla="*/ 1706251 h 1706251"/>
                <a:gd name="connsiteX0" fmla="*/ 66275 w 2130745"/>
                <a:gd name="connsiteY0" fmla="*/ 490194 h 1706251"/>
                <a:gd name="connsiteX1" fmla="*/ 71470 w 2130745"/>
                <a:gd name="connsiteY1" fmla="*/ 483566 h 1706251"/>
                <a:gd name="connsiteX2" fmla="*/ 0 w 2130745"/>
                <a:gd name="connsiteY2" fmla="*/ 483566 h 1706251"/>
                <a:gd name="connsiteX3" fmla="*/ 273665 w 2130745"/>
                <a:gd name="connsiteY3" fmla="*/ 339365 h 1706251"/>
                <a:gd name="connsiteX4" fmla="*/ 367933 w 2130745"/>
                <a:gd name="connsiteY4" fmla="*/ 282804 h 1706251"/>
                <a:gd name="connsiteX5" fmla="*/ 499908 w 2130745"/>
                <a:gd name="connsiteY5" fmla="*/ 282804 h 1706251"/>
                <a:gd name="connsiteX6" fmla="*/ 716724 w 2130745"/>
                <a:gd name="connsiteY6" fmla="*/ 263950 h 1706251"/>
                <a:gd name="connsiteX7" fmla="*/ 886407 w 2130745"/>
                <a:gd name="connsiteY7" fmla="*/ 197963 h 1706251"/>
                <a:gd name="connsiteX8" fmla="*/ 980675 w 2130745"/>
                <a:gd name="connsiteY8" fmla="*/ 75414 h 1706251"/>
                <a:gd name="connsiteX9" fmla="*/ 1065516 w 2130745"/>
                <a:gd name="connsiteY9" fmla="*/ 0 h 1706251"/>
                <a:gd name="connsiteX10" fmla="*/ 1206918 w 2130745"/>
                <a:gd name="connsiteY10" fmla="*/ 216816 h 1706251"/>
                <a:gd name="connsiteX11" fmla="*/ 1272906 w 2130745"/>
                <a:gd name="connsiteY11" fmla="*/ 320511 h 1706251"/>
                <a:gd name="connsiteX12" fmla="*/ 1376601 w 2130745"/>
                <a:gd name="connsiteY12" fmla="*/ 433633 h 1706251"/>
                <a:gd name="connsiteX13" fmla="*/ 1555710 w 2130745"/>
                <a:gd name="connsiteY13" fmla="*/ 480767 h 1706251"/>
                <a:gd name="connsiteX14" fmla="*/ 1819660 w 2130745"/>
                <a:gd name="connsiteY14" fmla="*/ 499621 h 1706251"/>
                <a:gd name="connsiteX15" fmla="*/ 1895075 w 2130745"/>
                <a:gd name="connsiteY15" fmla="*/ 603315 h 1706251"/>
                <a:gd name="connsiteX16" fmla="*/ 1998770 w 2130745"/>
                <a:gd name="connsiteY16" fmla="*/ 725864 h 1706251"/>
                <a:gd name="connsiteX17" fmla="*/ 2130745 w 2130745"/>
                <a:gd name="connsiteY17" fmla="*/ 820132 h 1706251"/>
                <a:gd name="connsiteX18" fmla="*/ 2045904 w 2130745"/>
                <a:gd name="connsiteY18" fmla="*/ 933254 h 1706251"/>
                <a:gd name="connsiteX19" fmla="*/ 2064757 w 2130745"/>
                <a:gd name="connsiteY19" fmla="*/ 1074656 h 1706251"/>
                <a:gd name="connsiteX20" fmla="*/ 1979916 w 2130745"/>
                <a:gd name="connsiteY20" fmla="*/ 1216058 h 1706251"/>
                <a:gd name="connsiteX21" fmla="*/ 1998770 w 2130745"/>
                <a:gd name="connsiteY21" fmla="*/ 1338606 h 1706251"/>
                <a:gd name="connsiteX22" fmla="*/ 1951636 w 2130745"/>
                <a:gd name="connsiteY22" fmla="*/ 1527142 h 1706251"/>
                <a:gd name="connsiteX23" fmla="*/ 1904502 w 2130745"/>
                <a:gd name="connsiteY23" fmla="*/ 1593130 h 1706251"/>
                <a:gd name="connsiteX24" fmla="*/ 1885648 w 2130745"/>
                <a:gd name="connsiteY24" fmla="*/ 1706251 h 1706251"/>
                <a:gd name="connsiteX0" fmla="*/ 66275 w 2130745"/>
                <a:gd name="connsiteY0" fmla="*/ 490194 h 1706251"/>
                <a:gd name="connsiteX1" fmla="*/ 0 w 2130745"/>
                <a:gd name="connsiteY1" fmla="*/ 483566 h 1706251"/>
                <a:gd name="connsiteX2" fmla="*/ 273665 w 2130745"/>
                <a:gd name="connsiteY2" fmla="*/ 339365 h 1706251"/>
                <a:gd name="connsiteX3" fmla="*/ 367933 w 2130745"/>
                <a:gd name="connsiteY3" fmla="*/ 282804 h 1706251"/>
                <a:gd name="connsiteX4" fmla="*/ 499908 w 2130745"/>
                <a:gd name="connsiteY4" fmla="*/ 282804 h 1706251"/>
                <a:gd name="connsiteX5" fmla="*/ 716724 w 2130745"/>
                <a:gd name="connsiteY5" fmla="*/ 263950 h 1706251"/>
                <a:gd name="connsiteX6" fmla="*/ 886407 w 2130745"/>
                <a:gd name="connsiteY6" fmla="*/ 197963 h 1706251"/>
                <a:gd name="connsiteX7" fmla="*/ 980675 w 2130745"/>
                <a:gd name="connsiteY7" fmla="*/ 75414 h 1706251"/>
                <a:gd name="connsiteX8" fmla="*/ 1065516 w 2130745"/>
                <a:gd name="connsiteY8" fmla="*/ 0 h 1706251"/>
                <a:gd name="connsiteX9" fmla="*/ 1206918 w 2130745"/>
                <a:gd name="connsiteY9" fmla="*/ 216816 h 1706251"/>
                <a:gd name="connsiteX10" fmla="*/ 1272906 w 2130745"/>
                <a:gd name="connsiteY10" fmla="*/ 320511 h 1706251"/>
                <a:gd name="connsiteX11" fmla="*/ 1376601 w 2130745"/>
                <a:gd name="connsiteY11" fmla="*/ 433633 h 1706251"/>
                <a:gd name="connsiteX12" fmla="*/ 1555710 w 2130745"/>
                <a:gd name="connsiteY12" fmla="*/ 480767 h 1706251"/>
                <a:gd name="connsiteX13" fmla="*/ 1819660 w 2130745"/>
                <a:gd name="connsiteY13" fmla="*/ 499621 h 1706251"/>
                <a:gd name="connsiteX14" fmla="*/ 1895075 w 2130745"/>
                <a:gd name="connsiteY14" fmla="*/ 603315 h 1706251"/>
                <a:gd name="connsiteX15" fmla="*/ 1998770 w 2130745"/>
                <a:gd name="connsiteY15" fmla="*/ 725864 h 1706251"/>
                <a:gd name="connsiteX16" fmla="*/ 2130745 w 2130745"/>
                <a:gd name="connsiteY16" fmla="*/ 820132 h 1706251"/>
                <a:gd name="connsiteX17" fmla="*/ 2045904 w 2130745"/>
                <a:gd name="connsiteY17" fmla="*/ 933254 h 1706251"/>
                <a:gd name="connsiteX18" fmla="*/ 2064757 w 2130745"/>
                <a:gd name="connsiteY18" fmla="*/ 1074656 h 1706251"/>
                <a:gd name="connsiteX19" fmla="*/ 1979916 w 2130745"/>
                <a:gd name="connsiteY19" fmla="*/ 1216058 h 1706251"/>
                <a:gd name="connsiteX20" fmla="*/ 1998770 w 2130745"/>
                <a:gd name="connsiteY20" fmla="*/ 1338606 h 1706251"/>
                <a:gd name="connsiteX21" fmla="*/ 1951636 w 2130745"/>
                <a:gd name="connsiteY21" fmla="*/ 1527142 h 1706251"/>
                <a:gd name="connsiteX22" fmla="*/ 1904502 w 2130745"/>
                <a:gd name="connsiteY22" fmla="*/ 1593130 h 1706251"/>
                <a:gd name="connsiteX23" fmla="*/ 1885648 w 2130745"/>
                <a:gd name="connsiteY23" fmla="*/ 1706251 h 1706251"/>
                <a:gd name="connsiteX0" fmla="*/ 0 w 2130745"/>
                <a:gd name="connsiteY0" fmla="*/ 483566 h 1706251"/>
                <a:gd name="connsiteX1" fmla="*/ 273665 w 2130745"/>
                <a:gd name="connsiteY1" fmla="*/ 339365 h 1706251"/>
                <a:gd name="connsiteX2" fmla="*/ 367933 w 2130745"/>
                <a:gd name="connsiteY2" fmla="*/ 282804 h 1706251"/>
                <a:gd name="connsiteX3" fmla="*/ 499908 w 2130745"/>
                <a:gd name="connsiteY3" fmla="*/ 282804 h 1706251"/>
                <a:gd name="connsiteX4" fmla="*/ 716724 w 2130745"/>
                <a:gd name="connsiteY4" fmla="*/ 263950 h 1706251"/>
                <a:gd name="connsiteX5" fmla="*/ 886407 w 2130745"/>
                <a:gd name="connsiteY5" fmla="*/ 197963 h 1706251"/>
                <a:gd name="connsiteX6" fmla="*/ 980675 w 2130745"/>
                <a:gd name="connsiteY6" fmla="*/ 75414 h 1706251"/>
                <a:gd name="connsiteX7" fmla="*/ 1065516 w 2130745"/>
                <a:gd name="connsiteY7" fmla="*/ 0 h 1706251"/>
                <a:gd name="connsiteX8" fmla="*/ 1206918 w 2130745"/>
                <a:gd name="connsiteY8" fmla="*/ 216816 h 1706251"/>
                <a:gd name="connsiteX9" fmla="*/ 1272906 w 2130745"/>
                <a:gd name="connsiteY9" fmla="*/ 320511 h 1706251"/>
                <a:gd name="connsiteX10" fmla="*/ 1376601 w 2130745"/>
                <a:gd name="connsiteY10" fmla="*/ 433633 h 1706251"/>
                <a:gd name="connsiteX11" fmla="*/ 1555710 w 2130745"/>
                <a:gd name="connsiteY11" fmla="*/ 480767 h 1706251"/>
                <a:gd name="connsiteX12" fmla="*/ 1819660 w 2130745"/>
                <a:gd name="connsiteY12" fmla="*/ 499621 h 1706251"/>
                <a:gd name="connsiteX13" fmla="*/ 1895075 w 2130745"/>
                <a:gd name="connsiteY13" fmla="*/ 603315 h 1706251"/>
                <a:gd name="connsiteX14" fmla="*/ 1998770 w 2130745"/>
                <a:gd name="connsiteY14" fmla="*/ 725864 h 1706251"/>
                <a:gd name="connsiteX15" fmla="*/ 2130745 w 2130745"/>
                <a:gd name="connsiteY15" fmla="*/ 820132 h 1706251"/>
                <a:gd name="connsiteX16" fmla="*/ 2045904 w 2130745"/>
                <a:gd name="connsiteY16" fmla="*/ 933254 h 1706251"/>
                <a:gd name="connsiteX17" fmla="*/ 2064757 w 2130745"/>
                <a:gd name="connsiteY17" fmla="*/ 1074656 h 1706251"/>
                <a:gd name="connsiteX18" fmla="*/ 1979916 w 2130745"/>
                <a:gd name="connsiteY18" fmla="*/ 1216058 h 1706251"/>
                <a:gd name="connsiteX19" fmla="*/ 1998770 w 2130745"/>
                <a:gd name="connsiteY19" fmla="*/ 1338606 h 1706251"/>
                <a:gd name="connsiteX20" fmla="*/ 1951636 w 2130745"/>
                <a:gd name="connsiteY20" fmla="*/ 1527142 h 1706251"/>
                <a:gd name="connsiteX21" fmla="*/ 1904502 w 2130745"/>
                <a:gd name="connsiteY21" fmla="*/ 1593130 h 1706251"/>
                <a:gd name="connsiteX22" fmla="*/ 1885648 w 2130745"/>
                <a:gd name="connsiteY22" fmla="*/ 1706251 h 1706251"/>
                <a:gd name="connsiteX0" fmla="*/ 0 w 2130745"/>
                <a:gd name="connsiteY0" fmla="*/ 483566 h 1706251"/>
                <a:gd name="connsiteX1" fmla="*/ 273665 w 2130745"/>
                <a:gd name="connsiteY1" fmla="*/ 339365 h 1706251"/>
                <a:gd name="connsiteX2" fmla="*/ 367933 w 2130745"/>
                <a:gd name="connsiteY2" fmla="*/ 282804 h 1706251"/>
                <a:gd name="connsiteX3" fmla="*/ 499908 w 2130745"/>
                <a:gd name="connsiteY3" fmla="*/ 282804 h 1706251"/>
                <a:gd name="connsiteX4" fmla="*/ 716724 w 2130745"/>
                <a:gd name="connsiteY4" fmla="*/ 263950 h 1706251"/>
                <a:gd name="connsiteX5" fmla="*/ 814937 w 2130745"/>
                <a:gd name="connsiteY5" fmla="*/ 197963 h 1706251"/>
                <a:gd name="connsiteX6" fmla="*/ 980675 w 2130745"/>
                <a:gd name="connsiteY6" fmla="*/ 75414 h 1706251"/>
                <a:gd name="connsiteX7" fmla="*/ 1065516 w 2130745"/>
                <a:gd name="connsiteY7" fmla="*/ 0 h 1706251"/>
                <a:gd name="connsiteX8" fmla="*/ 1206918 w 2130745"/>
                <a:gd name="connsiteY8" fmla="*/ 216816 h 1706251"/>
                <a:gd name="connsiteX9" fmla="*/ 1272906 w 2130745"/>
                <a:gd name="connsiteY9" fmla="*/ 320511 h 1706251"/>
                <a:gd name="connsiteX10" fmla="*/ 1376601 w 2130745"/>
                <a:gd name="connsiteY10" fmla="*/ 433633 h 1706251"/>
                <a:gd name="connsiteX11" fmla="*/ 1555710 w 2130745"/>
                <a:gd name="connsiteY11" fmla="*/ 480767 h 1706251"/>
                <a:gd name="connsiteX12" fmla="*/ 1819660 w 2130745"/>
                <a:gd name="connsiteY12" fmla="*/ 499621 h 1706251"/>
                <a:gd name="connsiteX13" fmla="*/ 1895075 w 2130745"/>
                <a:gd name="connsiteY13" fmla="*/ 603315 h 1706251"/>
                <a:gd name="connsiteX14" fmla="*/ 1998770 w 2130745"/>
                <a:gd name="connsiteY14" fmla="*/ 725864 h 1706251"/>
                <a:gd name="connsiteX15" fmla="*/ 2130745 w 2130745"/>
                <a:gd name="connsiteY15" fmla="*/ 820132 h 1706251"/>
                <a:gd name="connsiteX16" fmla="*/ 2045904 w 2130745"/>
                <a:gd name="connsiteY16" fmla="*/ 933254 h 1706251"/>
                <a:gd name="connsiteX17" fmla="*/ 2064757 w 2130745"/>
                <a:gd name="connsiteY17" fmla="*/ 1074656 h 1706251"/>
                <a:gd name="connsiteX18" fmla="*/ 1979916 w 2130745"/>
                <a:gd name="connsiteY18" fmla="*/ 1216058 h 1706251"/>
                <a:gd name="connsiteX19" fmla="*/ 1998770 w 2130745"/>
                <a:gd name="connsiteY19" fmla="*/ 1338606 h 1706251"/>
                <a:gd name="connsiteX20" fmla="*/ 1951636 w 2130745"/>
                <a:gd name="connsiteY20" fmla="*/ 1527142 h 1706251"/>
                <a:gd name="connsiteX21" fmla="*/ 1904502 w 2130745"/>
                <a:gd name="connsiteY21" fmla="*/ 1593130 h 1706251"/>
                <a:gd name="connsiteX22" fmla="*/ 1885648 w 2130745"/>
                <a:gd name="connsiteY22" fmla="*/ 1706251 h 1706251"/>
                <a:gd name="connsiteX0" fmla="*/ 0 w 2130745"/>
                <a:gd name="connsiteY0" fmla="*/ 483566 h 1706251"/>
                <a:gd name="connsiteX1" fmla="*/ 273665 w 2130745"/>
                <a:gd name="connsiteY1" fmla="*/ 339365 h 1706251"/>
                <a:gd name="connsiteX2" fmla="*/ 367933 w 2130745"/>
                <a:gd name="connsiteY2" fmla="*/ 282804 h 1706251"/>
                <a:gd name="connsiteX3" fmla="*/ 499908 w 2130745"/>
                <a:gd name="connsiteY3" fmla="*/ 282804 h 1706251"/>
                <a:gd name="connsiteX4" fmla="*/ 716724 w 2130745"/>
                <a:gd name="connsiteY4" fmla="*/ 263950 h 1706251"/>
                <a:gd name="connsiteX5" fmla="*/ 814937 w 2130745"/>
                <a:gd name="connsiteY5" fmla="*/ 197963 h 1706251"/>
                <a:gd name="connsiteX6" fmla="*/ 980675 w 2130745"/>
                <a:gd name="connsiteY6" fmla="*/ 75414 h 1706251"/>
                <a:gd name="connsiteX7" fmla="*/ 1065516 w 2130745"/>
                <a:gd name="connsiteY7" fmla="*/ 0 h 1706251"/>
                <a:gd name="connsiteX8" fmla="*/ 1099294 w 2130745"/>
                <a:gd name="connsiteY8" fmla="*/ 120882 h 1706251"/>
                <a:gd name="connsiteX9" fmla="*/ 1206918 w 2130745"/>
                <a:gd name="connsiteY9" fmla="*/ 216816 h 1706251"/>
                <a:gd name="connsiteX10" fmla="*/ 1272906 w 2130745"/>
                <a:gd name="connsiteY10" fmla="*/ 320511 h 1706251"/>
                <a:gd name="connsiteX11" fmla="*/ 1376601 w 2130745"/>
                <a:gd name="connsiteY11" fmla="*/ 433633 h 1706251"/>
                <a:gd name="connsiteX12" fmla="*/ 1555710 w 2130745"/>
                <a:gd name="connsiteY12" fmla="*/ 480767 h 1706251"/>
                <a:gd name="connsiteX13" fmla="*/ 1819660 w 2130745"/>
                <a:gd name="connsiteY13" fmla="*/ 499621 h 1706251"/>
                <a:gd name="connsiteX14" fmla="*/ 1895075 w 2130745"/>
                <a:gd name="connsiteY14" fmla="*/ 603315 h 1706251"/>
                <a:gd name="connsiteX15" fmla="*/ 1998770 w 2130745"/>
                <a:gd name="connsiteY15" fmla="*/ 725864 h 1706251"/>
                <a:gd name="connsiteX16" fmla="*/ 2130745 w 2130745"/>
                <a:gd name="connsiteY16" fmla="*/ 820132 h 1706251"/>
                <a:gd name="connsiteX17" fmla="*/ 2045904 w 2130745"/>
                <a:gd name="connsiteY17" fmla="*/ 933254 h 1706251"/>
                <a:gd name="connsiteX18" fmla="*/ 2064757 w 2130745"/>
                <a:gd name="connsiteY18" fmla="*/ 1074656 h 1706251"/>
                <a:gd name="connsiteX19" fmla="*/ 1979916 w 2130745"/>
                <a:gd name="connsiteY19" fmla="*/ 1216058 h 1706251"/>
                <a:gd name="connsiteX20" fmla="*/ 1998770 w 2130745"/>
                <a:gd name="connsiteY20" fmla="*/ 1338606 h 1706251"/>
                <a:gd name="connsiteX21" fmla="*/ 1951636 w 2130745"/>
                <a:gd name="connsiteY21" fmla="*/ 1527142 h 1706251"/>
                <a:gd name="connsiteX22" fmla="*/ 1904502 w 2130745"/>
                <a:gd name="connsiteY22" fmla="*/ 1593130 h 1706251"/>
                <a:gd name="connsiteX23" fmla="*/ 1885648 w 2130745"/>
                <a:gd name="connsiteY23" fmla="*/ 1706251 h 1706251"/>
                <a:gd name="connsiteX0" fmla="*/ 0 w 2130745"/>
                <a:gd name="connsiteY0" fmla="*/ 483566 h 1706251"/>
                <a:gd name="connsiteX1" fmla="*/ 273665 w 2130745"/>
                <a:gd name="connsiteY1" fmla="*/ 339365 h 1706251"/>
                <a:gd name="connsiteX2" fmla="*/ 367933 w 2130745"/>
                <a:gd name="connsiteY2" fmla="*/ 282804 h 1706251"/>
                <a:gd name="connsiteX3" fmla="*/ 499908 w 2130745"/>
                <a:gd name="connsiteY3" fmla="*/ 282804 h 1706251"/>
                <a:gd name="connsiteX4" fmla="*/ 716724 w 2130745"/>
                <a:gd name="connsiteY4" fmla="*/ 263950 h 1706251"/>
                <a:gd name="connsiteX5" fmla="*/ 814937 w 2130745"/>
                <a:gd name="connsiteY5" fmla="*/ 197963 h 1706251"/>
                <a:gd name="connsiteX6" fmla="*/ 980675 w 2130745"/>
                <a:gd name="connsiteY6" fmla="*/ 75414 h 1706251"/>
                <a:gd name="connsiteX7" fmla="*/ 1065516 w 2130745"/>
                <a:gd name="connsiteY7" fmla="*/ 0 h 1706251"/>
                <a:gd name="connsiteX8" fmla="*/ 1099294 w 2130745"/>
                <a:gd name="connsiteY8" fmla="*/ 120882 h 1706251"/>
                <a:gd name="connsiteX9" fmla="*/ 1135448 w 2130745"/>
                <a:gd name="connsiteY9" fmla="*/ 216816 h 1706251"/>
                <a:gd name="connsiteX10" fmla="*/ 1272906 w 2130745"/>
                <a:gd name="connsiteY10" fmla="*/ 320511 h 1706251"/>
                <a:gd name="connsiteX11" fmla="*/ 1376601 w 2130745"/>
                <a:gd name="connsiteY11" fmla="*/ 433633 h 1706251"/>
                <a:gd name="connsiteX12" fmla="*/ 1555710 w 2130745"/>
                <a:gd name="connsiteY12" fmla="*/ 480767 h 1706251"/>
                <a:gd name="connsiteX13" fmla="*/ 1819660 w 2130745"/>
                <a:gd name="connsiteY13" fmla="*/ 499621 h 1706251"/>
                <a:gd name="connsiteX14" fmla="*/ 1895075 w 2130745"/>
                <a:gd name="connsiteY14" fmla="*/ 603315 h 1706251"/>
                <a:gd name="connsiteX15" fmla="*/ 1998770 w 2130745"/>
                <a:gd name="connsiteY15" fmla="*/ 725864 h 1706251"/>
                <a:gd name="connsiteX16" fmla="*/ 2130745 w 2130745"/>
                <a:gd name="connsiteY16" fmla="*/ 820132 h 1706251"/>
                <a:gd name="connsiteX17" fmla="*/ 2045904 w 2130745"/>
                <a:gd name="connsiteY17" fmla="*/ 933254 h 1706251"/>
                <a:gd name="connsiteX18" fmla="*/ 2064757 w 2130745"/>
                <a:gd name="connsiteY18" fmla="*/ 1074656 h 1706251"/>
                <a:gd name="connsiteX19" fmla="*/ 1979916 w 2130745"/>
                <a:gd name="connsiteY19" fmla="*/ 1216058 h 1706251"/>
                <a:gd name="connsiteX20" fmla="*/ 1998770 w 2130745"/>
                <a:gd name="connsiteY20" fmla="*/ 1338606 h 1706251"/>
                <a:gd name="connsiteX21" fmla="*/ 1951636 w 2130745"/>
                <a:gd name="connsiteY21" fmla="*/ 1527142 h 1706251"/>
                <a:gd name="connsiteX22" fmla="*/ 1904502 w 2130745"/>
                <a:gd name="connsiteY22" fmla="*/ 1593130 h 1706251"/>
                <a:gd name="connsiteX23" fmla="*/ 1885648 w 2130745"/>
                <a:gd name="connsiteY23" fmla="*/ 1706251 h 1706251"/>
                <a:gd name="connsiteX0" fmla="*/ 0 w 2130745"/>
                <a:gd name="connsiteY0" fmla="*/ 483566 h 1706251"/>
                <a:gd name="connsiteX1" fmla="*/ 273665 w 2130745"/>
                <a:gd name="connsiteY1" fmla="*/ 339365 h 1706251"/>
                <a:gd name="connsiteX2" fmla="*/ 367933 w 2130745"/>
                <a:gd name="connsiteY2" fmla="*/ 282804 h 1706251"/>
                <a:gd name="connsiteX3" fmla="*/ 499908 w 2130745"/>
                <a:gd name="connsiteY3" fmla="*/ 282804 h 1706251"/>
                <a:gd name="connsiteX4" fmla="*/ 716724 w 2130745"/>
                <a:gd name="connsiteY4" fmla="*/ 263950 h 1706251"/>
                <a:gd name="connsiteX5" fmla="*/ 814937 w 2130745"/>
                <a:gd name="connsiteY5" fmla="*/ 197963 h 1706251"/>
                <a:gd name="connsiteX6" fmla="*/ 980675 w 2130745"/>
                <a:gd name="connsiteY6" fmla="*/ 75414 h 1706251"/>
                <a:gd name="connsiteX7" fmla="*/ 1065516 w 2130745"/>
                <a:gd name="connsiteY7" fmla="*/ 0 h 1706251"/>
                <a:gd name="connsiteX8" fmla="*/ 1099294 w 2130745"/>
                <a:gd name="connsiteY8" fmla="*/ 120882 h 1706251"/>
                <a:gd name="connsiteX9" fmla="*/ 1135448 w 2130745"/>
                <a:gd name="connsiteY9" fmla="*/ 216816 h 1706251"/>
                <a:gd name="connsiteX10" fmla="*/ 1272906 w 2130745"/>
                <a:gd name="connsiteY10" fmla="*/ 320511 h 1706251"/>
                <a:gd name="connsiteX11" fmla="*/ 1376601 w 2130745"/>
                <a:gd name="connsiteY11" fmla="*/ 433633 h 1706251"/>
                <a:gd name="connsiteX12" fmla="*/ 1461128 w 2130745"/>
                <a:gd name="connsiteY12" fmla="*/ 527593 h 1706251"/>
                <a:gd name="connsiteX13" fmla="*/ 1555710 w 2130745"/>
                <a:gd name="connsiteY13" fmla="*/ 480767 h 1706251"/>
                <a:gd name="connsiteX14" fmla="*/ 1819660 w 2130745"/>
                <a:gd name="connsiteY14" fmla="*/ 499621 h 1706251"/>
                <a:gd name="connsiteX15" fmla="*/ 1895075 w 2130745"/>
                <a:gd name="connsiteY15" fmla="*/ 603315 h 1706251"/>
                <a:gd name="connsiteX16" fmla="*/ 1998770 w 2130745"/>
                <a:gd name="connsiteY16" fmla="*/ 725864 h 1706251"/>
                <a:gd name="connsiteX17" fmla="*/ 2130745 w 2130745"/>
                <a:gd name="connsiteY17" fmla="*/ 820132 h 1706251"/>
                <a:gd name="connsiteX18" fmla="*/ 2045904 w 2130745"/>
                <a:gd name="connsiteY18" fmla="*/ 933254 h 1706251"/>
                <a:gd name="connsiteX19" fmla="*/ 2064757 w 2130745"/>
                <a:gd name="connsiteY19" fmla="*/ 1074656 h 1706251"/>
                <a:gd name="connsiteX20" fmla="*/ 1979916 w 2130745"/>
                <a:gd name="connsiteY20" fmla="*/ 1216058 h 1706251"/>
                <a:gd name="connsiteX21" fmla="*/ 1998770 w 2130745"/>
                <a:gd name="connsiteY21" fmla="*/ 1338606 h 1706251"/>
                <a:gd name="connsiteX22" fmla="*/ 1951636 w 2130745"/>
                <a:gd name="connsiteY22" fmla="*/ 1527142 h 1706251"/>
                <a:gd name="connsiteX23" fmla="*/ 1904502 w 2130745"/>
                <a:gd name="connsiteY23" fmla="*/ 1593130 h 1706251"/>
                <a:gd name="connsiteX24" fmla="*/ 1885648 w 2130745"/>
                <a:gd name="connsiteY24" fmla="*/ 1706251 h 1706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30745" h="1706251">
                  <a:moveTo>
                    <a:pt x="0" y="483566"/>
                  </a:moveTo>
                  <a:lnTo>
                    <a:pt x="273665" y="339365"/>
                  </a:lnTo>
                  <a:lnTo>
                    <a:pt x="367933" y="282804"/>
                  </a:lnTo>
                  <a:lnTo>
                    <a:pt x="499908" y="282804"/>
                  </a:lnTo>
                  <a:lnTo>
                    <a:pt x="716724" y="263950"/>
                  </a:lnTo>
                  <a:lnTo>
                    <a:pt x="814937" y="197963"/>
                  </a:lnTo>
                  <a:lnTo>
                    <a:pt x="980675" y="75414"/>
                  </a:lnTo>
                  <a:lnTo>
                    <a:pt x="1065516" y="0"/>
                  </a:lnTo>
                  <a:lnTo>
                    <a:pt x="1099294" y="120882"/>
                  </a:lnTo>
                  <a:lnTo>
                    <a:pt x="1135448" y="216816"/>
                  </a:lnTo>
                  <a:lnTo>
                    <a:pt x="1272906" y="320511"/>
                  </a:lnTo>
                  <a:lnTo>
                    <a:pt x="1376601" y="433633"/>
                  </a:lnTo>
                  <a:lnTo>
                    <a:pt x="1461128" y="527593"/>
                  </a:lnTo>
                  <a:lnTo>
                    <a:pt x="1555710" y="480767"/>
                  </a:lnTo>
                  <a:lnTo>
                    <a:pt x="1819660" y="499621"/>
                  </a:lnTo>
                  <a:lnTo>
                    <a:pt x="1895075" y="603315"/>
                  </a:lnTo>
                  <a:lnTo>
                    <a:pt x="1998770" y="725864"/>
                  </a:lnTo>
                  <a:lnTo>
                    <a:pt x="2130745" y="820132"/>
                  </a:lnTo>
                  <a:lnTo>
                    <a:pt x="2045904" y="933254"/>
                  </a:lnTo>
                  <a:lnTo>
                    <a:pt x="2064757" y="1074656"/>
                  </a:lnTo>
                  <a:lnTo>
                    <a:pt x="1979916" y="1216058"/>
                  </a:lnTo>
                  <a:lnTo>
                    <a:pt x="1998770" y="1338606"/>
                  </a:lnTo>
                  <a:lnTo>
                    <a:pt x="1951636" y="1527142"/>
                  </a:lnTo>
                  <a:lnTo>
                    <a:pt x="1904502" y="1593130"/>
                  </a:lnTo>
                  <a:lnTo>
                    <a:pt x="1885648" y="1706251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5086441" y="1689346"/>
              <a:ext cx="734387" cy="93577"/>
            </a:xfrm>
            <a:custGeom>
              <a:avLst/>
              <a:gdLst>
                <a:gd name="connsiteX0" fmla="*/ 0 w 735291"/>
                <a:gd name="connsiteY0" fmla="*/ 94268 h 94268"/>
                <a:gd name="connsiteX1" fmla="*/ 490194 w 735291"/>
                <a:gd name="connsiteY1" fmla="*/ 0 h 94268"/>
                <a:gd name="connsiteX2" fmla="*/ 735291 w 735291"/>
                <a:gd name="connsiteY2" fmla="*/ 0 h 94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35291" h="94268">
                  <a:moveTo>
                    <a:pt x="0" y="94268"/>
                  </a:moveTo>
                  <a:lnTo>
                    <a:pt x="490194" y="0"/>
                  </a:lnTo>
                  <a:lnTo>
                    <a:pt x="735291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246404" y="2136818"/>
              <a:ext cx="610961" cy="695880"/>
            </a:xfrm>
            <a:custGeom>
              <a:avLst/>
              <a:gdLst>
                <a:gd name="connsiteX0" fmla="*/ 377072 w 622169"/>
                <a:gd name="connsiteY0" fmla="*/ 697583 h 697583"/>
                <a:gd name="connsiteX1" fmla="*/ 622169 w 622169"/>
                <a:gd name="connsiteY1" fmla="*/ 452487 h 697583"/>
                <a:gd name="connsiteX2" fmla="*/ 377072 w 622169"/>
                <a:gd name="connsiteY2" fmla="*/ 169682 h 697583"/>
                <a:gd name="connsiteX3" fmla="*/ 103695 w 622169"/>
                <a:gd name="connsiteY3" fmla="*/ 0 h 697583"/>
                <a:gd name="connsiteX4" fmla="*/ 9427 w 622169"/>
                <a:gd name="connsiteY4" fmla="*/ 320511 h 697583"/>
                <a:gd name="connsiteX5" fmla="*/ 0 w 622169"/>
                <a:gd name="connsiteY5" fmla="*/ 452487 h 697583"/>
                <a:gd name="connsiteX0" fmla="*/ 377072 w 622169"/>
                <a:gd name="connsiteY0" fmla="*/ 697583 h 697583"/>
                <a:gd name="connsiteX1" fmla="*/ 622169 w 622169"/>
                <a:gd name="connsiteY1" fmla="*/ 452487 h 697583"/>
                <a:gd name="connsiteX2" fmla="*/ 377072 w 622169"/>
                <a:gd name="connsiteY2" fmla="*/ 169682 h 697583"/>
                <a:gd name="connsiteX3" fmla="*/ 103695 w 622169"/>
                <a:gd name="connsiteY3" fmla="*/ 0 h 697583"/>
                <a:gd name="connsiteX4" fmla="*/ 9427 w 622169"/>
                <a:gd name="connsiteY4" fmla="*/ 320511 h 697583"/>
                <a:gd name="connsiteX5" fmla="*/ 0 w 622169"/>
                <a:gd name="connsiteY5" fmla="*/ 452487 h 697583"/>
                <a:gd name="connsiteX0" fmla="*/ 367645 w 612742"/>
                <a:gd name="connsiteY0" fmla="*/ 697583 h 697583"/>
                <a:gd name="connsiteX1" fmla="*/ 612742 w 612742"/>
                <a:gd name="connsiteY1" fmla="*/ 452487 h 697583"/>
                <a:gd name="connsiteX2" fmla="*/ 367645 w 612742"/>
                <a:gd name="connsiteY2" fmla="*/ 169682 h 697583"/>
                <a:gd name="connsiteX3" fmla="*/ 94268 w 612742"/>
                <a:gd name="connsiteY3" fmla="*/ 0 h 697583"/>
                <a:gd name="connsiteX4" fmla="*/ 0 w 612742"/>
                <a:gd name="connsiteY4" fmla="*/ 320511 h 697583"/>
                <a:gd name="connsiteX0" fmla="*/ 367645 w 612742"/>
                <a:gd name="connsiteY0" fmla="*/ 697583 h 697583"/>
                <a:gd name="connsiteX1" fmla="*/ 612742 w 612742"/>
                <a:gd name="connsiteY1" fmla="*/ 452487 h 697583"/>
                <a:gd name="connsiteX2" fmla="*/ 367645 w 612742"/>
                <a:gd name="connsiteY2" fmla="*/ 169682 h 697583"/>
                <a:gd name="connsiteX3" fmla="*/ 94268 w 612742"/>
                <a:gd name="connsiteY3" fmla="*/ 0 h 697583"/>
                <a:gd name="connsiteX4" fmla="*/ 0 w 612742"/>
                <a:gd name="connsiteY4" fmla="*/ 390315 h 697583"/>
                <a:gd name="connsiteX0" fmla="*/ 367645 w 612742"/>
                <a:gd name="connsiteY0" fmla="*/ 697583 h 697583"/>
                <a:gd name="connsiteX1" fmla="*/ 377097 w 612742"/>
                <a:gd name="connsiteY1" fmla="*/ 695805 h 697583"/>
                <a:gd name="connsiteX2" fmla="*/ 612742 w 612742"/>
                <a:gd name="connsiteY2" fmla="*/ 452487 h 697583"/>
                <a:gd name="connsiteX3" fmla="*/ 367645 w 612742"/>
                <a:gd name="connsiteY3" fmla="*/ 169682 h 697583"/>
                <a:gd name="connsiteX4" fmla="*/ 94268 w 612742"/>
                <a:gd name="connsiteY4" fmla="*/ 0 h 697583"/>
                <a:gd name="connsiteX5" fmla="*/ 0 w 612742"/>
                <a:gd name="connsiteY5" fmla="*/ 390315 h 697583"/>
                <a:gd name="connsiteX0" fmla="*/ 367645 w 612742"/>
                <a:gd name="connsiteY0" fmla="*/ 697583 h 697583"/>
                <a:gd name="connsiteX1" fmla="*/ 377097 w 612742"/>
                <a:gd name="connsiteY1" fmla="*/ 695805 h 697583"/>
                <a:gd name="connsiteX2" fmla="*/ 612742 w 612742"/>
                <a:gd name="connsiteY2" fmla="*/ 452487 h 697583"/>
                <a:gd name="connsiteX3" fmla="*/ 367645 w 612742"/>
                <a:gd name="connsiteY3" fmla="*/ 169682 h 697583"/>
                <a:gd name="connsiteX4" fmla="*/ 94268 w 612742"/>
                <a:gd name="connsiteY4" fmla="*/ 0 h 697583"/>
                <a:gd name="connsiteX5" fmla="*/ 0 w 612742"/>
                <a:gd name="connsiteY5" fmla="*/ 390315 h 697583"/>
                <a:gd name="connsiteX0" fmla="*/ 377097 w 612742"/>
                <a:gd name="connsiteY0" fmla="*/ 695805 h 695805"/>
                <a:gd name="connsiteX1" fmla="*/ 612742 w 612742"/>
                <a:gd name="connsiteY1" fmla="*/ 452487 h 695805"/>
                <a:gd name="connsiteX2" fmla="*/ 367645 w 612742"/>
                <a:gd name="connsiteY2" fmla="*/ 169682 h 695805"/>
                <a:gd name="connsiteX3" fmla="*/ 94268 w 612742"/>
                <a:gd name="connsiteY3" fmla="*/ 0 h 695805"/>
                <a:gd name="connsiteX4" fmla="*/ 0 w 612742"/>
                <a:gd name="connsiteY4" fmla="*/ 390315 h 695805"/>
                <a:gd name="connsiteX0" fmla="*/ 377097 w 612742"/>
                <a:gd name="connsiteY0" fmla="*/ 695805 h 695805"/>
                <a:gd name="connsiteX1" fmla="*/ 612742 w 612742"/>
                <a:gd name="connsiteY1" fmla="*/ 452487 h 695805"/>
                <a:gd name="connsiteX2" fmla="*/ 367645 w 612742"/>
                <a:gd name="connsiteY2" fmla="*/ 169682 h 695805"/>
                <a:gd name="connsiteX3" fmla="*/ 94268 w 612742"/>
                <a:gd name="connsiteY3" fmla="*/ 0 h 695805"/>
                <a:gd name="connsiteX4" fmla="*/ 132179 w 612742"/>
                <a:gd name="connsiteY4" fmla="*/ 211321 h 695805"/>
                <a:gd name="connsiteX5" fmla="*/ 0 w 612742"/>
                <a:gd name="connsiteY5" fmla="*/ 390315 h 695805"/>
                <a:gd name="connsiteX0" fmla="*/ 377097 w 612742"/>
                <a:gd name="connsiteY0" fmla="*/ 695805 h 695805"/>
                <a:gd name="connsiteX1" fmla="*/ 612742 w 612742"/>
                <a:gd name="connsiteY1" fmla="*/ 452487 h 695805"/>
                <a:gd name="connsiteX2" fmla="*/ 367645 w 612742"/>
                <a:gd name="connsiteY2" fmla="*/ 169682 h 695805"/>
                <a:gd name="connsiteX3" fmla="*/ 165674 w 612742"/>
                <a:gd name="connsiteY3" fmla="*/ 0 h 695805"/>
                <a:gd name="connsiteX4" fmla="*/ 132179 w 612742"/>
                <a:gd name="connsiteY4" fmla="*/ 211321 h 695805"/>
                <a:gd name="connsiteX5" fmla="*/ 0 w 612742"/>
                <a:gd name="connsiteY5" fmla="*/ 390315 h 695805"/>
                <a:gd name="connsiteX0" fmla="*/ 377097 w 612742"/>
                <a:gd name="connsiteY0" fmla="*/ 695805 h 695805"/>
                <a:gd name="connsiteX1" fmla="*/ 612742 w 612742"/>
                <a:gd name="connsiteY1" fmla="*/ 452487 h 695805"/>
                <a:gd name="connsiteX2" fmla="*/ 422723 w 612742"/>
                <a:gd name="connsiteY2" fmla="*/ 300221 h 695805"/>
                <a:gd name="connsiteX3" fmla="*/ 367645 w 612742"/>
                <a:gd name="connsiteY3" fmla="*/ 169682 h 695805"/>
                <a:gd name="connsiteX4" fmla="*/ 165674 w 612742"/>
                <a:gd name="connsiteY4" fmla="*/ 0 h 695805"/>
                <a:gd name="connsiteX5" fmla="*/ 132179 w 612742"/>
                <a:gd name="connsiteY5" fmla="*/ 211321 h 695805"/>
                <a:gd name="connsiteX6" fmla="*/ 0 w 612742"/>
                <a:gd name="connsiteY6" fmla="*/ 390315 h 695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2742" h="695805">
                  <a:moveTo>
                    <a:pt x="377097" y="695805"/>
                  </a:moveTo>
                  <a:lnTo>
                    <a:pt x="612742" y="452487"/>
                  </a:lnTo>
                  <a:lnTo>
                    <a:pt x="422723" y="300221"/>
                  </a:lnTo>
                  <a:lnTo>
                    <a:pt x="367645" y="169682"/>
                  </a:lnTo>
                  <a:lnTo>
                    <a:pt x="165674" y="0"/>
                  </a:lnTo>
                  <a:lnTo>
                    <a:pt x="132179" y="211321"/>
                  </a:lnTo>
                  <a:lnTo>
                    <a:pt x="0" y="390315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2537686" y="2997734"/>
              <a:ext cx="5713101" cy="2441532"/>
            </a:xfrm>
            <a:custGeom>
              <a:avLst/>
              <a:gdLst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35051 w 5712643"/>
                <a:gd name="connsiteY25" fmla="*/ 2205872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524866 w 5712643"/>
                <a:gd name="connsiteY33" fmla="*/ 1838227 h 2441542"/>
                <a:gd name="connsiteX34" fmla="*/ 4637987 w 5712643"/>
                <a:gd name="connsiteY34" fmla="*/ 1621410 h 2441542"/>
                <a:gd name="connsiteX35" fmla="*/ 4647414 w 5712643"/>
                <a:gd name="connsiteY35" fmla="*/ 1527142 h 2441542"/>
                <a:gd name="connsiteX36" fmla="*/ 4656841 w 5712643"/>
                <a:gd name="connsiteY36" fmla="*/ 1319753 h 2441542"/>
                <a:gd name="connsiteX37" fmla="*/ 4713402 w 5712643"/>
                <a:gd name="connsiteY37" fmla="*/ 1178350 h 2441542"/>
                <a:gd name="connsiteX38" fmla="*/ 4722828 w 5712643"/>
                <a:gd name="connsiteY38" fmla="*/ 989814 h 2441542"/>
                <a:gd name="connsiteX39" fmla="*/ 4883084 w 5712643"/>
                <a:gd name="connsiteY39" fmla="*/ 725864 h 2441542"/>
                <a:gd name="connsiteX40" fmla="*/ 5090474 w 5712643"/>
                <a:gd name="connsiteY40" fmla="*/ 772998 h 2441542"/>
                <a:gd name="connsiteX41" fmla="*/ 5250729 w 5712643"/>
                <a:gd name="connsiteY41" fmla="*/ 933254 h 2441542"/>
                <a:gd name="connsiteX42" fmla="*/ 5410985 w 5712643"/>
                <a:gd name="connsiteY42" fmla="*/ 980388 h 2441542"/>
                <a:gd name="connsiteX43" fmla="*/ 5712643 w 5712643"/>
                <a:gd name="connsiteY43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35051 w 5712643"/>
                <a:gd name="connsiteY25" fmla="*/ 2205872 h 2441542"/>
                <a:gd name="connsiteX26" fmla="*/ 3541981 w 5712643"/>
                <a:gd name="connsiteY26" fmla="*/ 2133445 h 2441542"/>
                <a:gd name="connsiteX27" fmla="*/ 3676453 w 5712643"/>
                <a:gd name="connsiteY27" fmla="*/ 2073897 h 2441542"/>
                <a:gd name="connsiteX28" fmla="*/ 3742441 w 5712643"/>
                <a:gd name="connsiteY28" fmla="*/ 2036190 h 2441542"/>
                <a:gd name="connsiteX29" fmla="*/ 3893270 w 5712643"/>
                <a:gd name="connsiteY29" fmla="*/ 1970202 h 2441542"/>
                <a:gd name="connsiteX30" fmla="*/ 4194927 w 5712643"/>
                <a:gd name="connsiteY30" fmla="*/ 1970202 h 2441542"/>
                <a:gd name="connsiteX31" fmla="*/ 4336329 w 5712643"/>
                <a:gd name="connsiteY31" fmla="*/ 1979629 h 2441542"/>
                <a:gd name="connsiteX32" fmla="*/ 4430597 w 5712643"/>
                <a:gd name="connsiteY32" fmla="*/ 2055043 h 2441542"/>
                <a:gd name="connsiteX33" fmla="*/ 4468305 w 5712643"/>
                <a:gd name="connsiteY33" fmla="*/ 1923068 h 2441542"/>
                <a:gd name="connsiteX34" fmla="*/ 4524866 w 5712643"/>
                <a:gd name="connsiteY34" fmla="*/ 1838227 h 2441542"/>
                <a:gd name="connsiteX35" fmla="*/ 4637987 w 5712643"/>
                <a:gd name="connsiteY35" fmla="*/ 1621410 h 2441542"/>
                <a:gd name="connsiteX36" fmla="*/ 4647414 w 5712643"/>
                <a:gd name="connsiteY36" fmla="*/ 1527142 h 2441542"/>
                <a:gd name="connsiteX37" fmla="*/ 4656841 w 5712643"/>
                <a:gd name="connsiteY37" fmla="*/ 1319753 h 2441542"/>
                <a:gd name="connsiteX38" fmla="*/ 4713402 w 5712643"/>
                <a:gd name="connsiteY38" fmla="*/ 1178350 h 2441542"/>
                <a:gd name="connsiteX39" fmla="*/ 4722828 w 5712643"/>
                <a:gd name="connsiteY39" fmla="*/ 989814 h 2441542"/>
                <a:gd name="connsiteX40" fmla="*/ 4883084 w 5712643"/>
                <a:gd name="connsiteY40" fmla="*/ 725864 h 2441542"/>
                <a:gd name="connsiteX41" fmla="*/ 5090474 w 5712643"/>
                <a:gd name="connsiteY41" fmla="*/ 772998 h 2441542"/>
                <a:gd name="connsiteX42" fmla="*/ 5250729 w 5712643"/>
                <a:gd name="connsiteY42" fmla="*/ 933254 h 2441542"/>
                <a:gd name="connsiteX43" fmla="*/ 5410985 w 5712643"/>
                <a:gd name="connsiteY43" fmla="*/ 980388 h 2441542"/>
                <a:gd name="connsiteX44" fmla="*/ 5712643 w 5712643"/>
                <a:gd name="connsiteY44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524866 w 5712643"/>
                <a:gd name="connsiteY33" fmla="*/ 1838227 h 2441542"/>
                <a:gd name="connsiteX34" fmla="*/ 4637987 w 5712643"/>
                <a:gd name="connsiteY34" fmla="*/ 1621410 h 2441542"/>
                <a:gd name="connsiteX35" fmla="*/ 4647414 w 5712643"/>
                <a:gd name="connsiteY35" fmla="*/ 1527142 h 2441542"/>
                <a:gd name="connsiteX36" fmla="*/ 4656841 w 5712643"/>
                <a:gd name="connsiteY36" fmla="*/ 1319753 h 2441542"/>
                <a:gd name="connsiteX37" fmla="*/ 4713402 w 5712643"/>
                <a:gd name="connsiteY37" fmla="*/ 1178350 h 2441542"/>
                <a:gd name="connsiteX38" fmla="*/ 4722828 w 5712643"/>
                <a:gd name="connsiteY38" fmla="*/ 989814 h 2441542"/>
                <a:gd name="connsiteX39" fmla="*/ 4883084 w 5712643"/>
                <a:gd name="connsiteY39" fmla="*/ 725864 h 2441542"/>
                <a:gd name="connsiteX40" fmla="*/ 5090474 w 5712643"/>
                <a:gd name="connsiteY40" fmla="*/ 772998 h 2441542"/>
                <a:gd name="connsiteX41" fmla="*/ 5250729 w 5712643"/>
                <a:gd name="connsiteY41" fmla="*/ 933254 h 2441542"/>
                <a:gd name="connsiteX42" fmla="*/ 5410985 w 5712643"/>
                <a:gd name="connsiteY42" fmla="*/ 980388 h 2441542"/>
                <a:gd name="connsiteX43" fmla="*/ 5712643 w 5712643"/>
                <a:gd name="connsiteY43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381958 w 5712643"/>
                <a:gd name="connsiteY33" fmla="*/ 1838227 h 2441542"/>
                <a:gd name="connsiteX34" fmla="*/ 4637987 w 5712643"/>
                <a:gd name="connsiteY34" fmla="*/ 1621410 h 2441542"/>
                <a:gd name="connsiteX35" fmla="*/ 4647414 w 5712643"/>
                <a:gd name="connsiteY35" fmla="*/ 1527142 h 2441542"/>
                <a:gd name="connsiteX36" fmla="*/ 4656841 w 5712643"/>
                <a:gd name="connsiteY36" fmla="*/ 1319753 h 2441542"/>
                <a:gd name="connsiteX37" fmla="*/ 4713402 w 5712643"/>
                <a:gd name="connsiteY37" fmla="*/ 1178350 h 2441542"/>
                <a:gd name="connsiteX38" fmla="*/ 4722828 w 5712643"/>
                <a:gd name="connsiteY38" fmla="*/ 989814 h 2441542"/>
                <a:gd name="connsiteX39" fmla="*/ 4883084 w 5712643"/>
                <a:gd name="connsiteY39" fmla="*/ 725864 h 2441542"/>
                <a:gd name="connsiteX40" fmla="*/ 5090474 w 5712643"/>
                <a:gd name="connsiteY40" fmla="*/ 772998 h 2441542"/>
                <a:gd name="connsiteX41" fmla="*/ 5250729 w 5712643"/>
                <a:gd name="connsiteY41" fmla="*/ 933254 h 2441542"/>
                <a:gd name="connsiteX42" fmla="*/ 5410985 w 5712643"/>
                <a:gd name="connsiteY42" fmla="*/ 980388 h 2441542"/>
                <a:gd name="connsiteX43" fmla="*/ 5712643 w 5712643"/>
                <a:gd name="connsiteY43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381958 w 5712643"/>
                <a:gd name="connsiteY33" fmla="*/ 1838227 h 2441542"/>
                <a:gd name="connsiteX34" fmla="*/ 4548456 w 5712643"/>
                <a:gd name="connsiteY34" fmla="*/ 1619095 h 2441542"/>
                <a:gd name="connsiteX35" fmla="*/ 4637987 w 5712643"/>
                <a:gd name="connsiteY35" fmla="*/ 1621410 h 2441542"/>
                <a:gd name="connsiteX36" fmla="*/ 4647414 w 5712643"/>
                <a:gd name="connsiteY36" fmla="*/ 1527142 h 2441542"/>
                <a:gd name="connsiteX37" fmla="*/ 4656841 w 5712643"/>
                <a:gd name="connsiteY37" fmla="*/ 1319753 h 2441542"/>
                <a:gd name="connsiteX38" fmla="*/ 4713402 w 5712643"/>
                <a:gd name="connsiteY38" fmla="*/ 1178350 h 2441542"/>
                <a:gd name="connsiteX39" fmla="*/ 4722828 w 5712643"/>
                <a:gd name="connsiteY39" fmla="*/ 989814 h 2441542"/>
                <a:gd name="connsiteX40" fmla="*/ 4883084 w 5712643"/>
                <a:gd name="connsiteY40" fmla="*/ 725864 h 2441542"/>
                <a:gd name="connsiteX41" fmla="*/ 5090474 w 5712643"/>
                <a:gd name="connsiteY41" fmla="*/ 772998 h 2441542"/>
                <a:gd name="connsiteX42" fmla="*/ 5250729 w 5712643"/>
                <a:gd name="connsiteY42" fmla="*/ 933254 h 2441542"/>
                <a:gd name="connsiteX43" fmla="*/ 5410985 w 5712643"/>
                <a:gd name="connsiteY43" fmla="*/ 980388 h 2441542"/>
                <a:gd name="connsiteX44" fmla="*/ 5712643 w 5712643"/>
                <a:gd name="connsiteY44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381958 w 5712643"/>
                <a:gd name="connsiteY33" fmla="*/ 1838227 h 2441542"/>
                <a:gd name="connsiteX34" fmla="*/ 4548456 w 5712643"/>
                <a:gd name="connsiteY34" fmla="*/ 1619095 h 2441542"/>
                <a:gd name="connsiteX35" fmla="*/ 4637987 w 5712643"/>
                <a:gd name="connsiteY35" fmla="*/ 1621410 h 2441542"/>
                <a:gd name="connsiteX36" fmla="*/ 4647414 w 5712643"/>
                <a:gd name="connsiteY36" fmla="*/ 1527142 h 2441542"/>
                <a:gd name="connsiteX37" fmla="*/ 4581761 w 5712643"/>
                <a:gd name="connsiteY37" fmla="*/ 1512757 h 2441542"/>
                <a:gd name="connsiteX38" fmla="*/ 4656841 w 5712643"/>
                <a:gd name="connsiteY38" fmla="*/ 1319753 h 2441542"/>
                <a:gd name="connsiteX39" fmla="*/ 4713402 w 5712643"/>
                <a:gd name="connsiteY39" fmla="*/ 1178350 h 2441542"/>
                <a:gd name="connsiteX40" fmla="*/ 4722828 w 5712643"/>
                <a:gd name="connsiteY40" fmla="*/ 989814 h 2441542"/>
                <a:gd name="connsiteX41" fmla="*/ 4883084 w 5712643"/>
                <a:gd name="connsiteY41" fmla="*/ 725864 h 2441542"/>
                <a:gd name="connsiteX42" fmla="*/ 5090474 w 5712643"/>
                <a:gd name="connsiteY42" fmla="*/ 772998 h 2441542"/>
                <a:gd name="connsiteX43" fmla="*/ 5250729 w 5712643"/>
                <a:gd name="connsiteY43" fmla="*/ 933254 h 2441542"/>
                <a:gd name="connsiteX44" fmla="*/ 5410985 w 5712643"/>
                <a:gd name="connsiteY44" fmla="*/ 980388 h 2441542"/>
                <a:gd name="connsiteX45" fmla="*/ 5712643 w 5712643"/>
                <a:gd name="connsiteY45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348791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381958 w 5712643"/>
                <a:gd name="connsiteY33" fmla="*/ 1838227 h 2441542"/>
                <a:gd name="connsiteX34" fmla="*/ 4548456 w 5712643"/>
                <a:gd name="connsiteY34" fmla="*/ 1619095 h 2441542"/>
                <a:gd name="connsiteX35" fmla="*/ 4637987 w 5712643"/>
                <a:gd name="connsiteY35" fmla="*/ 1621410 h 2441542"/>
                <a:gd name="connsiteX36" fmla="*/ 4647414 w 5712643"/>
                <a:gd name="connsiteY36" fmla="*/ 1527142 h 2441542"/>
                <a:gd name="connsiteX37" fmla="*/ 4581761 w 5712643"/>
                <a:gd name="connsiteY37" fmla="*/ 1512757 h 2441542"/>
                <a:gd name="connsiteX38" fmla="*/ 4585371 w 5712643"/>
                <a:gd name="connsiteY38" fmla="*/ 1248291 h 2441542"/>
                <a:gd name="connsiteX39" fmla="*/ 4713402 w 5712643"/>
                <a:gd name="connsiteY39" fmla="*/ 1178350 h 2441542"/>
                <a:gd name="connsiteX40" fmla="*/ 4722828 w 5712643"/>
                <a:gd name="connsiteY40" fmla="*/ 989814 h 2441542"/>
                <a:gd name="connsiteX41" fmla="*/ 4883084 w 5712643"/>
                <a:gd name="connsiteY41" fmla="*/ 725864 h 2441542"/>
                <a:gd name="connsiteX42" fmla="*/ 5090474 w 5712643"/>
                <a:gd name="connsiteY42" fmla="*/ 772998 h 2441542"/>
                <a:gd name="connsiteX43" fmla="*/ 5250729 w 5712643"/>
                <a:gd name="connsiteY43" fmla="*/ 933254 h 2441542"/>
                <a:gd name="connsiteX44" fmla="*/ 5410985 w 5712643"/>
                <a:gd name="connsiteY44" fmla="*/ 980388 h 2441542"/>
                <a:gd name="connsiteX45" fmla="*/ 5712643 w 5712643"/>
                <a:gd name="connsiteY45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420197 w 5712643"/>
                <a:gd name="connsiteY4" fmla="*/ 584462 h 2441542"/>
                <a:gd name="connsiteX5" fmla="*/ 575035 w 5712643"/>
                <a:gd name="connsiteY5" fmla="*/ 659876 h 2441542"/>
                <a:gd name="connsiteX6" fmla="*/ 791851 w 5712643"/>
                <a:gd name="connsiteY6" fmla="*/ 904973 h 2441542"/>
                <a:gd name="connsiteX7" fmla="*/ 876692 w 5712643"/>
                <a:gd name="connsiteY7" fmla="*/ 1027522 h 2441542"/>
                <a:gd name="connsiteX8" fmla="*/ 1008668 w 5712643"/>
                <a:gd name="connsiteY8" fmla="*/ 1272618 h 2441542"/>
                <a:gd name="connsiteX9" fmla="*/ 1150070 w 5712643"/>
                <a:gd name="connsiteY9" fmla="*/ 1319753 h 2441542"/>
                <a:gd name="connsiteX10" fmla="*/ 1216057 w 5712643"/>
                <a:gd name="connsiteY10" fmla="*/ 1366887 h 2441542"/>
                <a:gd name="connsiteX11" fmla="*/ 1319752 w 5712643"/>
                <a:gd name="connsiteY11" fmla="*/ 1338606 h 2441542"/>
                <a:gd name="connsiteX12" fmla="*/ 1451727 w 5712643"/>
                <a:gd name="connsiteY12" fmla="*/ 1451728 h 2441542"/>
                <a:gd name="connsiteX13" fmla="*/ 1517715 w 5712643"/>
                <a:gd name="connsiteY13" fmla="*/ 1555423 h 2441542"/>
                <a:gd name="connsiteX14" fmla="*/ 1649690 w 5712643"/>
                <a:gd name="connsiteY14" fmla="*/ 1574276 h 2441542"/>
                <a:gd name="connsiteX15" fmla="*/ 1828800 w 5712643"/>
                <a:gd name="connsiteY15" fmla="*/ 1668544 h 2441542"/>
                <a:gd name="connsiteX16" fmla="*/ 1941921 w 5712643"/>
                <a:gd name="connsiteY16" fmla="*/ 1847654 h 2441542"/>
                <a:gd name="connsiteX17" fmla="*/ 2158738 w 5712643"/>
                <a:gd name="connsiteY17" fmla="*/ 2007909 h 2441542"/>
                <a:gd name="connsiteX18" fmla="*/ 2347274 w 5712643"/>
                <a:gd name="connsiteY18" fmla="*/ 2243579 h 2441542"/>
                <a:gd name="connsiteX19" fmla="*/ 2394408 w 5712643"/>
                <a:gd name="connsiteY19" fmla="*/ 2318994 h 2441542"/>
                <a:gd name="connsiteX20" fmla="*/ 2526383 w 5712643"/>
                <a:gd name="connsiteY20" fmla="*/ 2441542 h 2441542"/>
                <a:gd name="connsiteX21" fmla="*/ 2762053 w 5712643"/>
                <a:gd name="connsiteY21" fmla="*/ 2441542 h 2441542"/>
                <a:gd name="connsiteX22" fmla="*/ 3016577 w 5712643"/>
                <a:gd name="connsiteY22" fmla="*/ 2347274 h 2441542"/>
                <a:gd name="connsiteX23" fmla="*/ 3223967 w 5712643"/>
                <a:gd name="connsiteY23" fmla="*/ 2215299 h 2441542"/>
                <a:gd name="connsiteX24" fmla="*/ 3403076 w 5712643"/>
                <a:gd name="connsiteY24" fmla="*/ 2215299 h 2441542"/>
                <a:gd name="connsiteX25" fmla="*/ 3541981 w 5712643"/>
                <a:gd name="connsiteY25" fmla="*/ 2133445 h 2441542"/>
                <a:gd name="connsiteX26" fmla="*/ 3676453 w 5712643"/>
                <a:gd name="connsiteY26" fmla="*/ 2073897 h 2441542"/>
                <a:gd name="connsiteX27" fmla="*/ 3742441 w 5712643"/>
                <a:gd name="connsiteY27" fmla="*/ 2036190 h 2441542"/>
                <a:gd name="connsiteX28" fmla="*/ 3893270 w 5712643"/>
                <a:gd name="connsiteY28" fmla="*/ 1970202 h 2441542"/>
                <a:gd name="connsiteX29" fmla="*/ 4194927 w 5712643"/>
                <a:gd name="connsiteY29" fmla="*/ 1970202 h 2441542"/>
                <a:gd name="connsiteX30" fmla="*/ 4336329 w 5712643"/>
                <a:gd name="connsiteY30" fmla="*/ 1979629 h 2441542"/>
                <a:gd name="connsiteX31" fmla="*/ 4430597 w 5712643"/>
                <a:gd name="connsiteY31" fmla="*/ 2055043 h 2441542"/>
                <a:gd name="connsiteX32" fmla="*/ 4468305 w 5712643"/>
                <a:gd name="connsiteY32" fmla="*/ 1923068 h 2441542"/>
                <a:gd name="connsiteX33" fmla="*/ 4381958 w 5712643"/>
                <a:gd name="connsiteY33" fmla="*/ 1838227 h 2441542"/>
                <a:gd name="connsiteX34" fmla="*/ 4548456 w 5712643"/>
                <a:gd name="connsiteY34" fmla="*/ 1619095 h 2441542"/>
                <a:gd name="connsiteX35" fmla="*/ 4637987 w 5712643"/>
                <a:gd name="connsiteY35" fmla="*/ 1621410 h 2441542"/>
                <a:gd name="connsiteX36" fmla="*/ 4647414 w 5712643"/>
                <a:gd name="connsiteY36" fmla="*/ 1527142 h 2441542"/>
                <a:gd name="connsiteX37" fmla="*/ 4581761 w 5712643"/>
                <a:gd name="connsiteY37" fmla="*/ 1512757 h 2441542"/>
                <a:gd name="connsiteX38" fmla="*/ 4585371 w 5712643"/>
                <a:gd name="connsiteY38" fmla="*/ 1248291 h 2441542"/>
                <a:gd name="connsiteX39" fmla="*/ 4713402 w 5712643"/>
                <a:gd name="connsiteY39" fmla="*/ 1178350 h 2441542"/>
                <a:gd name="connsiteX40" fmla="*/ 4722828 w 5712643"/>
                <a:gd name="connsiteY40" fmla="*/ 989814 h 2441542"/>
                <a:gd name="connsiteX41" fmla="*/ 4883084 w 5712643"/>
                <a:gd name="connsiteY41" fmla="*/ 725864 h 2441542"/>
                <a:gd name="connsiteX42" fmla="*/ 5090474 w 5712643"/>
                <a:gd name="connsiteY42" fmla="*/ 772998 h 2441542"/>
                <a:gd name="connsiteX43" fmla="*/ 5250729 w 5712643"/>
                <a:gd name="connsiteY43" fmla="*/ 933254 h 2441542"/>
                <a:gd name="connsiteX44" fmla="*/ 5410985 w 5712643"/>
                <a:gd name="connsiteY44" fmla="*/ 980388 h 2441542"/>
                <a:gd name="connsiteX45" fmla="*/ 5712643 w 5712643"/>
                <a:gd name="connsiteY45" fmla="*/ 1140643 h 2441542"/>
                <a:gd name="connsiteX0" fmla="*/ 0 w 5712643"/>
                <a:gd name="connsiteY0" fmla="*/ 0 h 2441542"/>
                <a:gd name="connsiteX1" fmla="*/ 141402 w 5712643"/>
                <a:gd name="connsiteY1" fmla="*/ 282804 h 2441542"/>
                <a:gd name="connsiteX2" fmla="*/ 216816 w 5712643"/>
                <a:gd name="connsiteY2" fmla="*/ 329938 h 2441542"/>
                <a:gd name="connsiteX3" fmla="*/ 263950 w 5712643"/>
                <a:gd name="connsiteY3" fmla="*/ 395926 h 2441542"/>
                <a:gd name="connsiteX4" fmla="*/ 420197 w 5712643"/>
                <a:gd name="connsiteY4" fmla="*/ 584462 h 2441542"/>
                <a:gd name="connsiteX5" fmla="*/ 575035 w 5712643"/>
                <a:gd name="connsiteY5" fmla="*/ 659876 h 2441542"/>
                <a:gd name="connsiteX6" fmla="*/ 717787 w 5712643"/>
                <a:gd name="connsiteY6" fmla="*/ 750757 h 2441542"/>
                <a:gd name="connsiteX7" fmla="*/ 791851 w 5712643"/>
                <a:gd name="connsiteY7" fmla="*/ 904973 h 2441542"/>
                <a:gd name="connsiteX8" fmla="*/ 876692 w 5712643"/>
                <a:gd name="connsiteY8" fmla="*/ 1027522 h 2441542"/>
                <a:gd name="connsiteX9" fmla="*/ 1008668 w 5712643"/>
                <a:gd name="connsiteY9" fmla="*/ 1272618 h 2441542"/>
                <a:gd name="connsiteX10" fmla="*/ 1150070 w 5712643"/>
                <a:gd name="connsiteY10" fmla="*/ 1319753 h 2441542"/>
                <a:gd name="connsiteX11" fmla="*/ 1216057 w 5712643"/>
                <a:gd name="connsiteY11" fmla="*/ 1366887 h 2441542"/>
                <a:gd name="connsiteX12" fmla="*/ 1319752 w 5712643"/>
                <a:gd name="connsiteY12" fmla="*/ 1338606 h 2441542"/>
                <a:gd name="connsiteX13" fmla="*/ 1451727 w 5712643"/>
                <a:gd name="connsiteY13" fmla="*/ 1451728 h 2441542"/>
                <a:gd name="connsiteX14" fmla="*/ 1517715 w 5712643"/>
                <a:gd name="connsiteY14" fmla="*/ 1555423 h 2441542"/>
                <a:gd name="connsiteX15" fmla="*/ 1649690 w 5712643"/>
                <a:gd name="connsiteY15" fmla="*/ 1574276 h 2441542"/>
                <a:gd name="connsiteX16" fmla="*/ 1828800 w 5712643"/>
                <a:gd name="connsiteY16" fmla="*/ 1668544 h 2441542"/>
                <a:gd name="connsiteX17" fmla="*/ 1941921 w 5712643"/>
                <a:gd name="connsiteY17" fmla="*/ 1847654 h 2441542"/>
                <a:gd name="connsiteX18" fmla="*/ 2158738 w 5712643"/>
                <a:gd name="connsiteY18" fmla="*/ 2007909 h 2441542"/>
                <a:gd name="connsiteX19" fmla="*/ 2347274 w 5712643"/>
                <a:gd name="connsiteY19" fmla="*/ 2243579 h 2441542"/>
                <a:gd name="connsiteX20" fmla="*/ 2394408 w 5712643"/>
                <a:gd name="connsiteY20" fmla="*/ 2318994 h 2441542"/>
                <a:gd name="connsiteX21" fmla="*/ 2526383 w 5712643"/>
                <a:gd name="connsiteY21" fmla="*/ 2441542 h 2441542"/>
                <a:gd name="connsiteX22" fmla="*/ 2762053 w 5712643"/>
                <a:gd name="connsiteY22" fmla="*/ 2441542 h 2441542"/>
                <a:gd name="connsiteX23" fmla="*/ 3016577 w 5712643"/>
                <a:gd name="connsiteY23" fmla="*/ 2347274 h 2441542"/>
                <a:gd name="connsiteX24" fmla="*/ 3223967 w 5712643"/>
                <a:gd name="connsiteY24" fmla="*/ 2215299 h 2441542"/>
                <a:gd name="connsiteX25" fmla="*/ 3403076 w 5712643"/>
                <a:gd name="connsiteY25" fmla="*/ 2215299 h 2441542"/>
                <a:gd name="connsiteX26" fmla="*/ 3541981 w 5712643"/>
                <a:gd name="connsiteY26" fmla="*/ 2133445 h 2441542"/>
                <a:gd name="connsiteX27" fmla="*/ 3676453 w 5712643"/>
                <a:gd name="connsiteY27" fmla="*/ 2073897 h 2441542"/>
                <a:gd name="connsiteX28" fmla="*/ 3742441 w 5712643"/>
                <a:gd name="connsiteY28" fmla="*/ 2036190 h 2441542"/>
                <a:gd name="connsiteX29" fmla="*/ 3893270 w 5712643"/>
                <a:gd name="connsiteY29" fmla="*/ 1970202 h 2441542"/>
                <a:gd name="connsiteX30" fmla="*/ 4194927 w 5712643"/>
                <a:gd name="connsiteY30" fmla="*/ 1970202 h 2441542"/>
                <a:gd name="connsiteX31" fmla="*/ 4336329 w 5712643"/>
                <a:gd name="connsiteY31" fmla="*/ 1979629 h 2441542"/>
                <a:gd name="connsiteX32" fmla="*/ 4430597 w 5712643"/>
                <a:gd name="connsiteY32" fmla="*/ 2055043 h 2441542"/>
                <a:gd name="connsiteX33" fmla="*/ 4468305 w 5712643"/>
                <a:gd name="connsiteY33" fmla="*/ 1923068 h 2441542"/>
                <a:gd name="connsiteX34" fmla="*/ 4381958 w 5712643"/>
                <a:gd name="connsiteY34" fmla="*/ 1838227 h 2441542"/>
                <a:gd name="connsiteX35" fmla="*/ 4548456 w 5712643"/>
                <a:gd name="connsiteY35" fmla="*/ 1619095 h 2441542"/>
                <a:gd name="connsiteX36" fmla="*/ 4637987 w 5712643"/>
                <a:gd name="connsiteY36" fmla="*/ 1621410 h 2441542"/>
                <a:gd name="connsiteX37" fmla="*/ 4647414 w 5712643"/>
                <a:gd name="connsiteY37" fmla="*/ 1527142 h 2441542"/>
                <a:gd name="connsiteX38" fmla="*/ 4581761 w 5712643"/>
                <a:gd name="connsiteY38" fmla="*/ 1512757 h 2441542"/>
                <a:gd name="connsiteX39" fmla="*/ 4585371 w 5712643"/>
                <a:gd name="connsiteY39" fmla="*/ 1248291 h 2441542"/>
                <a:gd name="connsiteX40" fmla="*/ 4713402 w 5712643"/>
                <a:gd name="connsiteY40" fmla="*/ 1178350 h 2441542"/>
                <a:gd name="connsiteX41" fmla="*/ 4722828 w 5712643"/>
                <a:gd name="connsiteY41" fmla="*/ 989814 h 2441542"/>
                <a:gd name="connsiteX42" fmla="*/ 4883084 w 5712643"/>
                <a:gd name="connsiteY42" fmla="*/ 725864 h 2441542"/>
                <a:gd name="connsiteX43" fmla="*/ 5090474 w 5712643"/>
                <a:gd name="connsiteY43" fmla="*/ 772998 h 2441542"/>
                <a:gd name="connsiteX44" fmla="*/ 5250729 w 5712643"/>
                <a:gd name="connsiteY44" fmla="*/ 933254 h 2441542"/>
                <a:gd name="connsiteX45" fmla="*/ 5410985 w 5712643"/>
                <a:gd name="connsiteY45" fmla="*/ 980388 h 2441542"/>
                <a:gd name="connsiteX46" fmla="*/ 5712643 w 5712643"/>
                <a:gd name="connsiteY46" fmla="*/ 1140643 h 2441542"/>
                <a:gd name="connsiteX0" fmla="*/ 0 w 5712643"/>
                <a:gd name="connsiteY0" fmla="*/ 0 h 2441542"/>
                <a:gd name="connsiteX1" fmla="*/ 187562 w 5712643"/>
                <a:gd name="connsiteY1" fmla="*/ 245932 h 2441542"/>
                <a:gd name="connsiteX2" fmla="*/ 141402 w 5712643"/>
                <a:gd name="connsiteY2" fmla="*/ 282804 h 2441542"/>
                <a:gd name="connsiteX3" fmla="*/ 216816 w 5712643"/>
                <a:gd name="connsiteY3" fmla="*/ 329938 h 2441542"/>
                <a:gd name="connsiteX4" fmla="*/ 263950 w 5712643"/>
                <a:gd name="connsiteY4" fmla="*/ 395926 h 2441542"/>
                <a:gd name="connsiteX5" fmla="*/ 420197 w 5712643"/>
                <a:gd name="connsiteY5" fmla="*/ 584462 h 2441542"/>
                <a:gd name="connsiteX6" fmla="*/ 575035 w 5712643"/>
                <a:gd name="connsiteY6" fmla="*/ 659876 h 2441542"/>
                <a:gd name="connsiteX7" fmla="*/ 717787 w 5712643"/>
                <a:gd name="connsiteY7" fmla="*/ 750757 h 2441542"/>
                <a:gd name="connsiteX8" fmla="*/ 791851 w 5712643"/>
                <a:gd name="connsiteY8" fmla="*/ 904973 h 2441542"/>
                <a:gd name="connsiteX9" fmla="*/ 876692 w 5712643"/>
                <a:gd name="connsiteY9" fmla="*/ 1027522 h 2441542"/>
                <a:gd name="connsiteX10" fmla="*/ 1008668 w 5712643"/>
                <a:gd name="connsiteY10" fmla="*/ 1272618 h 2441542"/>
                <a:gd name="connsiteX11" fmla="*/ 1150070 w 5712643"/>
                <a:gd name="connsiteY11" fmla="*/ 1319753 h 2441542"/>
                <a:gd name="connsiteX12" fmla="*/ 1216057 w 5712643"/>
                <a:gd name="connsiteY12" fmla="*/ 1366887 h 2441542"/>
                <a:gd name="connsiteX13" fmla="*/ 1319752 w 5712643"/>
                <a:gd name="connsiteY13" fmla="*/ 1338606 h 2441542"/>
                <a:gd name="connsiteX14" fmla="*/ 1451727 w 5712643"/>
                <a:gd name="connsiteY14" fmla="*/ 1451728 h 2441542"/>
                <a:gd name="connsiteX15" fmla="*/ 1517715 w 5712643"/>
                <a:gd name="connsiteY15" fmla="*/ 1555423 h 2441542"/>
                <a:gd name="connsiteX16" fmla="*/ 1649690 w 5712643"/>
                <a:gd name="connsiteY16" fmla="*/ 1574276 h 2441542"/>
                <a:gd name="connsiteX17" fmla="*/ 1828800 w 5712643"/>
                <a:gd name="connsiteY17" fmla="*/ 1668544 h 2441542"/>
                <a:gd name="connsiteX18" fmla="*/ 1941921 w 5712643"/>
                <a:gd name="connsiteY18" fmla="*/ 1847654 h 2441542"/>
                <a:gd name="connsiteX19" fmla="*/ 2158738 w 5712643"/>
                <a:gd name="connsiteY19" fmla="*/ 2007909 h 2441542"/>
                <a:gd name="connsiteX20" fmla="*/ 2347274 w 5712643"/>
                <a:gd name="connsiteY20" fmla="*/ 2243579 h 2441542"/>
                <a:gd name="connsiteX21" fmla="*/ 2394408 w 5712643"/>
                <a:gd name="connsiteY21" fmla="*/ 2318994 h 2441542"/>
                <a:gd name="connsiteX22" fmla="*/ 2526383 w 5712643"/>
                <a:gd name="connsiteY22" fmla="*/ 2441542 h 2441542"/>
                <a:gd name="connsiteX23" fmla="*/ 2762053 w 5712643"/>
                <a:gd name="connsiteY23" fmla="*/ 2441542 h 2441542"/>
                <a:gd name="connsiteX24" fmla="*/ 3016577 w 5712643"/>
                <a:gd name="connsiteY24" fmla="*/ 2347274 h 2441542"/>
                <a:gd name="connsiteX25" fmla="*/ 3223967 w 5712643"/>
                <a:gd name="connsiteY25" fmla="*/ 2215299 h 2441542"/>
                <a:gd name="connsiteX26" fmla="*/ 3403076 w 5712643"/>
                <a:gd name="connsiteY26" fmla="*/ 2215299 h 2441542"/>
                <a:gd name="connsiteX27" fmla="*/ 3541981 w 5712643"/>
                <a:gd name="connsiteY27" fmla="*/ 2133445 h 2441542"/>
                <a:gd name="connsiteX28" fmla="*/ 3676453 w 5712643"/>
                <a:gd name="connsiteY28" fmla="*/ 2073897 h 2441542"/>
                <a:gd name="connsiteX29" fmla="*/ 3742441 w 5712643"/>
                <a:gd name="connsiteY29" fmla="*/ 2036190 h 2441542"/>
                <a:gd name="connsiteX30" fmla="*/ 3893270 w 5712643"/>
                <a:gd name="connsiteY30" fmla="*/ 1970202 h 2441542"/>
                <a:gd name="connsiteX31" fmla="*/ 4194927 w 5712643"/>
                <a:gd name="connsiteY31" fmla="*/ 1970202 h 2441542"/>
                <a:gd name="connsiteX32" fmla="*/ 4336329 w 5712643"/>
                <a:gd name="connsiteY32" fmla="*/ 1979629 h 2441542"/>
                <a:gd name="connsiteX33" fmla="*/ 4430597 w 5712643"/>
                <a:gd name="connsiteY33" fmla="*/ 2055043 h 2441542"/>
                <a:gd name="connsiteX34" fmla="*/ 4468305 w 5712643"/>
                <a:gd name="connsiteY34" fmla="*/ 1923068 h 2441542"/>
                <a:gd name="connsiteX35" fmla="*/ 4381958 w 5712643"/>
                <a:gd name="connsiteY35" fmla="*/ 1838227 h 2441542"/>
                <a:gd name="connsiteX36" fmla="*/ 4548456 w 5712643"/>
                <a:gd name="connsiteY36" fmla="*/ 1619095 h 2441542"/>
                <a:gd name="connsiteX37" fmla="*/ 4637987 w 5712643"/>
                <a:gd name="connsiteY37" fmla="*/ 1621410 h 2441542"/>
                <a:gd name="connsiteX38" fmla="*/ 4647414 w 5712643"/>
                <a:gd name="connsiteY38" fmla="*/ 1527142 h 2441542"/>
                <a:gd name="connsiteX39" fmla="*/ 4581761 w 5712643"/>
                <a:gd name="connsiteY39" fmla="*/ 1512757 h 2441542"/>
                <a:gd name="connsiteX40" fmla="*/ 4585371 w 5712643"/>
                <a:gd name="connsiteY40" fmla="*/ 1248291 h 2441542"/>
                <a:gd name="connsiteX41" fmla="*/ 4713402 w 5712643"/>
                <a:gd name="connsiteY41" fmla="*/ 1178350 h 2441542"/>
                <a:gd name="connsiteX42" fmla="*/ 4722828 w 5712643"/>
                <a:gd name="connsiteY42" fmla="*/ 989814 h 2441542"/>
                <a:gd name="connsiteX43" fmla="*/ 4883084 w 5712643"/>
                <a:gd name="connsiteY43" fmla="*/ 725864 h 2441542"/>
                <a:gd name="connsiteX44" fmla="*/ 5090474 w 5712643"/>
                <a:gd name="connsiteY44" fmla="*/ 772998 h 2441542"/>
                <a:gd name="connsiteX45" fmla="*/ 5250729 w 5712643"/>
                <a:gd name="connsiteY45" fmla="*/ 933254 h 2441542"/>
                <a:gd name="connsiteX46" fmla="*/ 5410985 w 5712643"/>
                <a:gd name="connsiteY46" fmla="*/ 980388 h 2441542"/>
                <a:gd name="connsiteX47" fmla="*/ 5712643 w 5712643"/>
                <a:gd name="connsiteY47" fmla="*/ 1140643 h 244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5712643" h="2441542">
                  <a:moveTo>
                    <a:pt x="0" y="0"/>
                  </a:moveTo>
                  <a:lnTo>
                    <a:pt x="187562" y="245932"/>
                  </a:lnTo>
                  <a:lnTo>
                    <a:pt x="141402" y="282804"/>
                  </a:lnTo>
                  <a:lnTo>
                    <a:pt x="216816" y="329938"/>
                  </a:lnTo>
                  <a:lnTo>
                    <a:pt x="263950" y="395926"/>
                  </a:lnTo>
                  <a:lnTo>
                    <a:pt x="420197" y="584462"/>
                  </a:lnTo>
                  <a:lnTo>
                    <a:pt x="575035" y="659876"/>
                  </a:lnTo>
                  <a:lnTo>
                    <a:pt x="717787" y="750757"/>
                  </a:lnTo>
                  <a:lnTo>
                    <a:pt x="791851" y="904973"/>
                  </a:lnTo>
                  <a:lnTo>
                    <a:pt x="876692" y="1027522"/>
                  </a:lnTo>
                  <a:lnTo>
                    <a:pt x="1008668" y="1272618"/>
                  </a:lnTo>
                  <a:lnTo>
                    <a:pt x="1150070" y="1319753"/>
                  </a:lnTo>
                  <a:lnTo>
                    <a:pt x="1216057" y="1366887"/>
                  </a:lnTo>
                  <a:lnTo>
                    <a:pt x="1319752" y="1338606"/>
                  </a:lnTo>
                  <a:lnTo>
                    <a:pt x="1451727" y="1451728"/>
                  </a:lnTo>
                  <a:lnTo>
                    <a:pt x="1517715" y="1555423"/>
                  </a:lnTo>
                  <a:lnTo>
                    <a:pt x="1649690" y="1574276"/>
                  </a:lnTo>
                  <a:lnTo>
                    <a:pt x="1828800" y="1668544"/>
                  </a:lnTo>
                  <a:lnTo>
                    <a:pt x="1941921" y="1847654"/>
                  </a:lnTo>
                  <a:lnTo>
                    <a:pt x="2158738" y="2007909"/>
                  </a:lnTo>
                  <a:lnTo>
                    <a:pt x="2347274" y="2243579"/>
                  </a:lnTo>
                  <a:lnTo>
                    <a:pt x="2394408" y="2318994"/>
                  </a:lnTo>
                  <a:lnTo>
                    <a:pt x="2526383" y="2441542"/>
                  </a:lnTo>
                  <a:lnTo>
                    <a:pt x="2762053" y="2441542"/>
                  </a:lnTo>
                  <a:lnTo>
                    <a:pt x="3016577" y="2347274"/>
                  </a:lnTo>
                  <a:lnTo>
                    <a:pt x="3223967" y="2215299"/>
                  </a:lnTo>
                  <a:lnTo>
                    <a:pt x="3403076" y="2215299"/>
                  </a:lnTo>
                  <a:lnTo>
                    <a:pt x="3541981" y="2133445"/>
                  </a:lnTo>
                  <a:lnTo>
                    <a:pt x="3676453" y="2073897"/>
                  </a:lnTo>
                  <a:lnTo>
                    <a:pt x="3742441" y="2036190"/>
                  </a:lnTo>
                  <a:lnTo>
                    <a:pt x="3893270" y="1970202"/>
                  </a:lnTo>
                  <a:lnTo>
                    <a:pt x="4194927" y="1970202"/>
                  </a:lnTo>
                  <a:lnTo>
                    <a:pt x="4336329" y="1979629"/>
                  </a:lnTo>
                  <a:lnTo>
                    <a:pt x="4430597" y="2055043"/>
                  </a:lnTo>
                  <a:lnTo>
                    <a:pt x="4468305" y="1923068"/>
                  </a:lnTo>
                  <a:lnTo>
                    <a:pt x="4381958" y="1838227"/>
                  </a:lnTo>
                  <a:lnTo>
                    <a:pt x="4548456" y="1619095"/>
                  </a:lnTo>
                  <a:lnTo>
                    <a:pt x="4637987" y="1621410"/>
                  </a:lnTo>
                  <a:lnTo>
                    <a:pt x="4647414" y="1527142"/>
                  </a:lnTo>
                  <a:lnTo>
                    <a:pt x="4581761" y="1512757"/>
                  </a:lnTo>
                  <a:cubicBezTo>
                    <a:pt x="4582964" y="1448422"/>
                    <a:pt x="4584168" y="1312626"/>
                    <a:pt x="4585371" y="1248291"/>
                  </a:cubicBezTo>
                  <a:lnTo>
                    <a:pt x="4713402" y="1178350"/>
                  </a:lnTo>
                  <a:lnTo>
                    <a:pt x="4722828" y="989814"/>
                  </a:lnTo>
                  <a:lnTo>
                    <a:pt x="4883084" y="725864"/>
                  </a:lnTo>
                  <a:lnTo>
                    <a:pt x="5090474" y="772998"/>
                  </a:lnTo>
                  <a:lnTo>
                    <a:pt x="5250729" y="933254"/>
                  </a:lnTo>
                  <a:lnTo>
                    <a:pt x="5410985" y="980388"/>
                  </a:lnTo>
                  <a:lnTo>
                    <a:pt x="5712643" y="1140643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3604842" y="1560675"/>
              <a:ext cx="318305" cy="290304"/>
            </a:xfrm>
            <a:custGeom>
              <a:avLst/>
              <a:gdLst>
                <a:gd name="connsiteX0" fmla="*/ 312517 w 312517"/>
                <a:gd name="connsiteY0" fmla="*/ 358815 h 358815"/>
                <a:gd name="connsiteX1" fmla="*/ 23150 w 312517"/>
                <a:gd name="connsiteY1" fmla="*/ 150471 h 358815"/>
                <a:gd name="connsiteX2" fmla="*/ 0 w 312517"/>
                <a:gd name="connsiteY2" fmla="*/ 0 h 358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517" h="358815">
                  <a:moveTo>
                    <a:pt x="312517" y="358815"/>
                  </a:moveTo>
                  <a:lnTo>
                    <a:pt x="23150" y="150471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3324915" y="2023728"/>
              <a:ext cx="402293" cy="68854"/>
            </a:xfrm>
            <a:custGeom>
              <a:avLst/>
              <a:gdLst>
                <a:gd name="connsiteX0" fmla="*/ 509286 w 509286"/>
                <a:gd name="connsiteY0" fmla="*/ 0 h 57874"/>
                <a:gd name="connsiteX1" fmla="*/ 162046 w 509286"/>
                <a:gd name="connsiteY1" fmla="*/ 57874 h 57874"/>
                <a:gd name="connsiteX2" fmla="*/ 0 w 509286"/>
                <a:gd name="connsiteY2" fmla="*/ 0 h 57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286" h="57874">
                  <a:moveTo>
                    <a:pt x="509286" y="0"/>
                  </a:moveTo>
                  <a:lnTo>
                    <a:pt x="162046" y="57874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0" name="Полилиния 19"/>
            <p:cNvSpPr/>
            <p:nvPr/>
          </p:nvSpPr>
          <p:spPr>
            <a:xfrm>
              <a:off x="6561388" y="1869376"/>
              <a:ext cx="262618" cy="163655"/>
            </a:xfrm>
            <a:custGeom>
              <a:avLst/>
              <a:gdLst>
                <a:gd name="connsiteX0" fmla="*/ 0 w 509286"/>
                <a:gd name="connsiteY0" fmla="*/ 219919 h 219919"/>
                <a:gd name="connsiteX1" fmla="*/ 509286 w 509286"/>
                <a:gd name="connsiteY1" fmla="*/ 0 h 219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9286" h="219919">
                  <a:moveTo>
                    <a:pt x="0" y="219919"/>
                  </a:moveTo>
                  <a:lnTo>
                    <a:pt x="509286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5972026" y="3704087"/>
              <a:ext cx="1411690" cy="171844"/>
            </a:xfrm>
            <a:custGeom>
              <a:avLst/>
              <a:gdLst>
                <a:gd name="connsiteX0" fmla="*/ 0 w 1412111"/>
                <a:gd name="connsiteY0" fmla="*/ 81023 h 173620"/>
                <a:gd name="connsiteX1" fmla="*/ 266218 w 1412111"/>
                <a:gd name="connsiteY1" fmla="*/ 173620 h 173620"/>
                <a:gd name="connsiteX2" fmla="*/ 486137 w 1412111"/>
                <a:gd name="connsiteY2" fmla="*/ 127322 h 173620"/>
                <a:gd name="connsiteX3" fmla="*/ 671331 w 1412111"/>
                <a:gd name="connsiteY3" fmla="*/ 104172 h 173620"/>
                <a:gd name="connsiteX4" fmla="*/ 937549 w 1412111"/>
                <a:gd name="connsiteY4" fmla="*/ 92598 h 173620"/>
                <a:gd name="connsiteX5" fmla="*/ 1412111 w 1412111"/>
                <a:gd name="connsiteY5" fmla="*/ 0 h 173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12111" h="173620">
                  <a:moveTo>
                    <a:pt x="0" y="81023"/>
                  </a:moveTo>
                  <a:lnTo>
                    <a:pt x="266218" y="173620"/>
                  </a:lnTo>
                  <a:lnTo>
                    <a:pt x="486137" y="127322"/>
                  </a:lnTo>
                  <a:lnTo>
                    <a:pt x="671331" y="104172"/>
                  </a:lnTo>
                  <a:lnTo>
                    <a:pt x="937549" y="92598"/>
                  </a:lnTo>
                  <a:lnTo>
                    <a:pt x="1412111" y="0"/>
                  </a:lnTo>
                </a:path>
              </a:pathLst>
            </a:custGeom>
            <a:ln w="41275">
              <a:solidFill>
                <a:srgbClr val="FFFF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2786082" y="2844607"/>
              <a:ext cx="436621" cy="64654"/>
            </a:xfrm>
            <a:custGeom>
              <a:avLst/>
              <a:gdLst>
                <a:gd name="connsiteX0" fmla="*/ 436880 w 436880"/>
                <a:gd name="connsiteY0" fmla="*/ 0 h 66040"/>
                <a:gd name="connsiteX1" fmla="*/ 0 w 436880"/>
                <a:gd name="connsiteY1" fmla="*/ 66040 h 66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6880" h="66040">
                  <a:moveTo>
                    <a:pt x="436880" y="0"/>
                  </a:moveTo>
                  <a:lnTo>
                    <a:pt x="0" y="6604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2290833" y="2397135"/>
              <a:ext cx="257653" cy="598898"/>
            </a:xfrm>
            <a:custGeom>
              <a:avLst/>
              <a:gdLst>
                <a:gd name="connsiteX0" fmla="*/ 259080 w 259080"/>
                <a:gd name="connsiteY0" fmla="*/ 599440 h 599440"/>
                <a:gd name="connsiteX1" fmla="*/ 243840 w 259080"/>
                <a:gd name="connsiteY1" fmla="*/ 335280 h 599440"/>
                <a:gd name="connsiteX2" fmla="*/ 137160 w 259080"/>
                <a:gd name="connsiteY2" fmla="*/ 152400 h 599440"/>
                <a:gd name="connsiteX3" fmla="*/ 0 w 259080"/>
                <a:gd name="connsiteY3" fmla="*/ 0 h 599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080" h="599440">
                  <a:moveTo>
                    <a:pt x="259080" y="599440"/>
                  </a:moveTo>
                  <a:lnTo>
                    <a:pt x="243840" y="335280"/>
                  </a:lnTo>
                  <a:lnTo>
                    <a:pt x="137160" y="152400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5018557" y="5432461"/>
              <a:ext cx="77142" cy="403235"/>
            </a:xfrm>
            <a:custGeom>
              <a:avLst/>
              <a:gdLst>
                <a:gd name="connsiteX0" fmla="*/ 0 w 75946"/>
                <a:gd name="connsiteY0" fmla="*/ 0 h 404037"/>
                <a:gd name="connsiteX1" fmla="*/ 9113 w 75946"/>
                <a:gd name="connsiteY1" fmla="*/ 161008 h 404037"/>
                <a:gd name="connsiteX2" fmla="*/ 60757 w 75946"/>
                <a:gd name="connsiteY2" fmla="*/ 325053 h 404037"/>
                <a:gd name="connsiteX3" fmla="*/ 75946 w 75946"/>
                <a:gd name="connsiteY3" fmla="*/ 404037 h 40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46" h="404037">
                  <a:moveTo>
                    <a:pt x="0" y="0"/>
                  </a:moveTo>
                  <a:lnTo>
                    <a:pt x="9113" y="161008"/>
                  </a:lnTo>
                  <a:lnTo>
                    <a:pt x="60757" y="325053"/>
                  </a:lnTo>
                  <a:lnTo>
                    <a:pt x="75946" y="404037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5975112" y="5212978"/>
              <a:ext cx="185140" cy="39133"/>
            </a:xfrm>
            <a:custGeom>
              <a:avLst/>
              <a:gdLst>
                <a:gd name="connsiteX0" fmla="*/ 0 w 184150"/>
                <a:gd name="connsiteY0" fmla="*/ 0 h 38100"/>
                <a:gd name="connsiteX1" fmla="*/ 171450 w 184150"/>
                <a:gd name="connsiteY1" fmla="*/ 38100 h 38100"/>
                <a:gd name="connsiteX2" fmla="*/ 184150 w 184150"/>
                <a:gd name="connsiteY2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150" h="38100">
                  <a:moveTo>
                    <a:pt x="0" y="0"/>
                  </a:moveTo>
                  <a:lnTo>
                    <a:pt x="171450" y="38100"/>
                  </a:lnTo>
                  <a:lnTo>
                    <a:pt x="184150" y="3810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6195737" y="4615781"/>
              <a:ext cx="134226" cy="68057"/>
            </a:xfrm>
            <a:custGeom>
              <a:avLst/>
              <a:gdLst>
                <a:gd name="connsiteX0" fmla="*/ 0 w 133350"/>
                <a:gd name="connsiteY0" fmla="*/ 69850 h 69850"/>
                <a:gd name="connsiteX1" fmla="*/ 133350 w 133350"/>
                <a:gd name="connsiteY1" fmla="*/ 0 h 6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69850">
                  <a:moveTo>
                    <a:pt x="0" y="69850"/>
                  </a:moveTo>
                  <a:lnTo>
                    <a:pt x="13335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7" name="Полилиния 26"/>
            <p:cNvSpPr/>
            <p:nvPr/>
          </p:nvSpPr>
          <p:spPr>
            <a:xfrm>
              <a:off x="7144577" y="4409909"/>
              <a:ext cx="169711" cy="32327"/>
            </a:xfrm>
            <a:custGeom>
              <a:avLst/>
              <a:gdLst>
                <a:gd name="connsiteX0" fmla="*/ 0 w 171450"/>
                <a:gd name="connsiteY0" fmla="*/ 10112 h 32337"/>
                <a:gd name="connsiteX1" fmla="*/ 57150 w 171450"/>
                <a:gd name="connsiteY1" fmla="*/ 32337 h 32337"/>
                <a:gd name="connsiteX2" fmla="*/ 107950 w 171450"/>
                <a:gd name="connsiteY2" fmla="*/ 587 h 32337"/>
                <a:gd name="connsiteX3" fmla="*/ 171450 w 171450"/>
                <a:gd name="connsiteY3" fmla="*/ 13287 h 3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32337">
                  <a:moveTo>
                    <a:pt x="0" y="10112"/>
                  </a:moveTo>
                  <a:lnTo>
                    <a:pt x="57150" y="32337"/>
                  </a:lnTo>
                  <a:cubicBezTo>
                    <a:pt x="105656" y="0"/>
                    <a:pt x="85696" y="587"/>
                    <a:pt x="107950" y="587"/>
                  </a:cubicBezTo>
                  <a:lnTo>
                    <a:pt x="171450" y="13287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8" name="Полилиния 27"/>
            <p:cNvSpPr/>
            <p:nvPr/>
          </p:nvSpPr>
          <p:spPr>
            <a:xfrm>
              <a:off x="1099768" y="2078970"/>
              <a:ext cx="880957" cy="260317"/>
            </a:xfrm>
            <a:custGeom>
              <a:avLst/>
              <a:gdLst>
                <a:gd name="connsiteX0" fmla="*/ 882650 w 882650"/>
                <a:gd name="connsiteY0" fmla="*/ 260350 h 260350"/>
                <a:gd name="connsiteX1" fmla="*/ 774700 w 882650"/>
                <a:gd name="connsiteY1" fmla="*/ 231775 h 260350"/>
                <a:gd name="connsiteX2" fmla="*/ 736600 w 882650"/>
                <a:gd name="connsiteY2" fmla="*/ 196850 h 260350"/>
                <a:gd name="connsiteX3" fmla="*/ 603250 w 882650"/>
                <a:gd name="connsiteY3" fmla="*/ 168275 h 260350"/>
                <a:gd name="connsiteX4" fmla="*/ 441325 w 882650"/>
                <a:gd name="connsiteY4" fmla="*/ 139700 h 260350"/>
                <a:gd name="connsiteX5" fmla="*/ 292100 w 882650"/>
                <a:gd name="connsiteY5" fmla="*/ 76200 h 260350"/>
                <a:gd name="connsiteX6" fmla="*/ 234950 w 882650"/>
                <a:gd name="connsiteY6" fmla="*/ 63500 h 260350"/>
                <a:gd name="connsiteX7" fmla="*/ 107950 w 882650"/>
                <a:gd name="connsiteY7" fmla="*/ 82550 h 260350"/>
                <a:gd name="connsiteX8" fmla="*/ 0 w 882650"/>
                <a:gd name="connsiteY8" fmla="*/ 0 h 260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2650" h="260350">
                  <a:moveTo>
                    <a:pt x="882650" y="260350"/>
                  </a:moveTo>
                  <a:lnTo>
                    <a:pt x="774700" y="231775"/>
                  </a:lnTo>
                  <a:lnTo>
                    <a:pt x="736600" y="196850"/>
                  </a:lnTo>
                  <a:lnTo>
                    <a:pt x="603250" y="168275"/>
                  </a:lnTo>
                  <a:cubicBezTo>
                    <a:pt x="549308" y="158565"/>
                    <a:pt x="496134" y="139700"/>
                    <a:pt x="441325" y="139700"/>
                  </a:cubicBezTo>
                  <a:lnTo>
                    <a:pt x="292100" y="76200"/>
                  </a:lnTo>
                  <a:lnTo>
                    <a:pt x="234950" y="63500"/>
                  </a:lnTo>
                  <a:lnTo>
                    <a:pt x="107950" y="82550"/>
                  </a:lnTo>
                  <a:lnTo>
                    <a:pt x="0" y="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29" name="Полилиния 28"/>
            <p:cNvSpPr/>
            <p:nvPr/>
          </p:nvSpPr>
          <p:spPr>
            <a:xfrm>
              <a:off x="1284907" y="3067493"/>
              <a:ext cx="302395" cy="345387"/>
            </a:xfrm>
            <a:custGeom>
              <a:avLst/>
              <a:gdLst>
                <a:gd name="connsiteX0" fmla="*/ 0 w 301625"/>
                <a:gd name="connsiteY0" fmla="*/ 0 h 346075"/>
                <a:gd name="connsiteX1" fmla="*/ 9525 w 301625"/>
                <a:gd name="connsiteY1" fmla="*/ 63500 h 346075"/>
                <a:gd name="connsiteX2" fmla="*/ 82550 w 301625"/>
                <a:gd name="connsiteY2" fmla="*/ 158750 h 346075"/>
                <a:gd name="connsiteX3" fmla="*/ 209550 w 301625"/>
                <a:gd name="connsiteY3" fmla="*/ 263525 h 346075"/>
                <a:gd name="connsiteX4" fmla="*/ 301625 w 301625"/>
                <a:gd name="connsiteY4" fmla="*/ 346075 h 34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1625" h="346075">
                  <a:moveTo>
                    <a:pt x="0" y="0"/>
                  </a:moveTo>
                  <a:lnTo>
                    <a:pt x="9525" y="63500"/>
                  </a:lnTo>
                  <a:lnTo>
                    <a:pt x="82550" y="158750"/>
                  </a:lnTo>
                  <a:lnTo>
                    <a:pt x="209550" y="263525"/>
                  </a:lnTo>
                  <a:lnTo>
                    <a:pt x="301625" y="346075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2565457" y="2466892"/>
              <a:ext cx="271538" cy="495113"/>
            </a:xfrm>
            <a:custGeom>
              <a:avLst/>
              <a:gdLst>
                <a:gd name="connsiteX0" fmla="*/ 273050 w 273050"/>
                <a:gd name="connsiteY0" fmla="*/ 0 h 495300"/>
                <a:gd name="connsiteX1" fmla="*/ 247650 w 273050"/>
                <a:gd name="connsiteY1" fmla="*/ 76200 h 495300"/>
                <a:gd name="connsiteX2" fmla="*/ 193675 w 273050"/>
                <a:gd name="connsiteY2" fmla="*/ 212725 h 495300"/>
                <a:gd name="connsiteX3" fmla="*/ 139700 w 273050"/>
                <a:gd name="connsiteY3" fmla="*/ 279400 h 495300"/>
                <a:gd name="connsiteX4" fmla="*/ 130175 w 273050"/>
                <a:gd name="connsiteY4" fmla="*/ 317500 h 495300"/>
                <a:gd name="connsiteX5" fmla="*/ 123825 w 273050"/>
                <a:gd name="connsiteY5" fmla="*/ 393700 h 495300"/>
                <a:gd name="connsiteX6" fmla="*/ 0 w 273050"/>
                <a:gd name="connsiteY6" fmla="*/ 495300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050" h="495300">
                  <a:moveTo>
                    <a:pt x="273050" y="0"/>
                  </a:moveTo>
                  <a:lnTo>
                    <a:pt x="247650" y="76200"/>
                  </a:lnTo>
                  <a:lnTo>
                    <a:pt x="193675" y="212725"/>
                  </a:lnTo>
                  <a:lnTo>
                    <a:pt x="139700" y="279400"/>
                  </a:lnTo>
                  <a:lnTo>
                    <a:pt x="130175" y="317500"/>
                  </a:lnTo>
                  <a:cubicBezTo>
                    <a:pt x="120519" y="394750"/>
                    <a:pt x="95052" y="393700"/>
                    <a:pt x="123825" y="393700"/>
                  </a:cubicBezTo>
                  <a:lnTo>
                    <a:pt x="0" y="49530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4393711" y="1425626"/>
              <a:ext cx="128054" cy="438965"/>
            </a:xfrm>
            <a:custGeom>
              <a:avLst/>
              <a:gdLst>
                <a:gd name="connsiteX0" fmla="*/ 0 w 127000"/>
                <a:gd name="connsiteY0" fmla="*/ 0 h 438150"/>
                <a:gd name="connsiteX1" fmla="*/ 66675 w 127000"/>
                <a:gd name="connsiteY1" fmla="*/ 193675 h 438150"/>
                <a:gd name="connsiteX2" fmla="*/ 127000 w 127000"/>
                <a:gd name="connsiteY2" fmla="*/ 438150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" h="438150">
                  <a:moveTo>
                    <a:pt x="0" y="0"/>
                  </a:moveTo>
                  <a:lnTo>
                    <a:pt x="66675" y="193675"/>
                  </a:lnTo>
                  <a:lnTo>
                    <a:pt x="127000" y="43815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32" name="Полилиния 31"/>
            <p:cNvSpPr/>
            <p:nvPr/>
          </p:nvSpPr>
          <p:spPr>
            <a:xfrm>
              <a:off x="4905931" y="1304826"/>
              <a:ext cx="399593" cy="27223"/>
            </a:xfrm>
            <a:custGeom>
              <a:avLst/>
              <a:gdLst>
                <a:gd name="connsiteX0" fmla="*/ 398297 w 398297"/>
                <a:gd name="connsiteY0" fmla="*/ 8415 h 28050"/>
                <a:gd name="connsiteX1" fmla="*/ 311345 w 398297"/>
                <a:gd name="connsiteY1" fmla="*/ 0 h 28050"/>
                <a:gd name="connsiteX2" fmla="*/ 182319 w 398297"/>
                <a:gd name="connsiteY2" fmla="*/ 22440 h 28050"/>
                <a:gd name="connsiteX3" fmla="*/ 0 w 398297"/>
                <a:gd name="connsiteY3" fmla="*/ 28050 h 28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8297" h="28050">
                  <a:moveTo>
                    <a:pt x="398297" y="8415"/>
                  </a:moveTo>
                  <a:lnTo>
                    <a:pt x="311345" y="0"/>
                  </a:lnTo>
                  <a:lnTo>
                    <a:pt x="182319" y="22440"/>
                  </a:lnTo>
                  <a:lnTo>
                    <a:pt x="0" y="28050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33" name="Полилиния 32"/>
            <p:cNvSpPr/>
            <p:nvPr/>
          </p:nvSpPr>
          <p:spPr>
            <a:xfrm>
              <a:off x="5833171" y="2859920"/>
              <a:ext cx="593990" cy="103786"/>
            </a:xfrm>
            <a:custGeom>
              <a:avLst/>
              <a:gdLst>
                <a:gd name="connsiteX0" fmla="*/ 591835 w 591835"/>
                <a:gd name="connsiteY0" fmla="*/ 103782 h 103782"/>
                <a:gd name="connsiteX1" fmla="*/ 546957 w 591835"/>
                <a:gd name="connsiteY1" fmla="*/ 61708 h 103782"/>
                <a:gd name="connsiteX2" fmla="*/ 443175 w 591835"/>
                <a:gd name="connsiteY2" fmla="*/ 53293 h 103782"/>
                <a:gd name="connsiteX3" fmla="*/ 359028 w 591835"/>
                <a:gd name="connsiteY3" fmla="*/ 70123 h 103782"/>
                <a:gd name="connsiteX4" fmla="*/ 291710 w 591835"/>
                <a:gd name="connsiteY4" fmla="*/ 92562 h 103782"/>
                <a:gd name="connsiteX5" fmla="*/ 201953 w 591835"/>
                <a:gd name="connsiteY5" fmla="*/ 33659 h 103782"/>
                <a:gd name="connsiteX6" fmla="*/ 72927 w 591835"/>
                <a:gd name="connsiteY6" fmla="*/ 0 h 103782"/>
                <a:gd name="connsiteX7" fmla="*/ 0 w 591835"/>
                <a:gd name="connsiteY7" fmla="*/ 39269 h 10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1835" h="103782">
                  <a:moveTo>
                    <a:pt x="591835" y="103782"/>
                  </a:moveTo>
                  <a:lnTo>
                    <a:pt x="546957" y="61708"/>
                  </a:lnTo>
                  <a:lnTo>
                    <a:pt x="443175" y="53293"/>
                  </a:lnTo>
                  <a:lnTo>
                    <a:pt x="359028" y="70123"/>
                  </a:lnTo>
                  <a:lnTo>
                    <a:pt x="291710" y="92562"/>
                  </a:lnTo>
                  <a:lnTo>
                    <a:pt x="201953" y="33659"/>
                  </a:lnTo>
                  <a:lnTo>
                    <a:pt x="72927" y="0"/>
                  </a:lnTo>
                  <a:lnTo>
                    <a:pt x="0" y="39269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  <p:sp>
          <p:nvSpPr>
            <p:cNvPr id="34" name="Полилиния 33"/>
            <p:cNvSpPr/>
            <p:nvPr/>
          </p:nvSpPr>
          <p:spPr>
            <a:xfrm>
              <a:off x="4747019" y="3135549"/>
              <a:ext cx="1089238" cy="525737"/>
            </a:xfrm>
            <a:custGeom>
              <a:avLst/>
              <a:gdLst>
                <a:gd name="connsiteX0" fmla="*/ 1090246 w 1090246"/>
                <a:gd name="connsiteY0" fmla="*/ 0 h 527539"/>
                <a:gd name="connsiteX1" fmla="*/ 978877 w 1090246"/>
                <a:gd name="connsiteY1" fmla="*/ 140677 h 527539"/>
                <a:gd name="connsiteX2" fmla="*/ 814753 w 1090246"/>
                <a:gd name="connsiteY2" fmla="*/ 234462 h 527539"/>
                <a:gd name="connsiteX3" fmla="*/ 545123 w 1090246"/>
                <a:gd name="connsiteY3" fmla="*/ 287216 h 527539"/>
                <a:gd name="connsiteX4" fmla="*/ 427892 w 1090246"/>
                <a:gd name="connsiteY4" fmla="*/ 351693 h 527539"/>
                <a:gd name="connsiteX5" fmla="*/ 193430 w 1090246"/>
                <a:gd name="connsiteY5" fmla="*/ 404446 h 527539"/>
                <a:gd name="connsiteX6" fmla="*/ 0 w 1090246"/>
                <a:gd name="connsiteY6" fmla="*/ 527539 h 527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0246" h="527539">
                  <a:moveTo>
                    <a:pt x="1090246" y="0"/>
                  </a:moveTo>
                  <a:lnTo>
                    <a:pt x="978877" y="140677"/>
                  </a:lnTo>
                  <a:lnTo>
                    <a:pt x="814753" y="234462"/>
                  </a:lnTo>
                  <a:lnTo>
                    <a:pt x="545123" y="287216"/>
                  </a:lnTo>
                  <a:lnTo>
                    <a:pt x="427892" y="351693"/>
                  </a:lnTo>
                  <a:lnTo>
                    <a:pt x="193430" y="404446"/>
                  </a:lnTo>
                  <a:lnTo>
                    <a:pt x="0" y="527539"/>
                  </a:lnTo>
                </a:path>
              </a:pathLst>
            </a:custGeom>
            <a:ln w="41275">
              <a:solidFill>
                <a:srgbClr val="006600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600" dirty="0"/>
            </a:p>
          </p:txBody>
        </p:sp>
      </p:grpSp>
      <p:sp>
        <p:nvSpPr>
          <p:cNvPr id="35" name="Скругленный прямоугольник 34"/>
          <p:cNvSpPr>
            <a:spLocks/>
          </p:cNvSpPr>
          <p:nvPr/>
        </p:nvSpPr>
        <p:spPr>
          <a:xfrm>
            <a:off x="7757930" y="4563219"/>
            <a:ext cx="576063" cy="161925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Korgas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36" name="AutoShape 9"/>
          <p:cNvSpPr>
            <a:spLocks noChangeArrowheads="1"/>
          </p:cNvSpPr>
          <p:nvPr/>
        </p:nvSpPr>
        <p:spPr bwMode="auto">
          <a:xfrm>
            <a:off x="5205886" y="2317712"/>
            <a:ext cx="793303" cy="165100"/>
          </a:xfrm>
          <a:prstGeom prst="roundRect">
            <a:avLst>
              <a:gd name="adj" fmla="val 16667"/>
            </a:avLst>
          </a:prstGeom>
          <a:solidFill>
            <a:schemeClr val="bg1">
              <a:alpha val="50000"/>
            </a:schemeClr>
          </a:solidFill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852" tIns="37703" rIns="18852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ASTANA</a:t>
            </a:r>
            <a:endParaRPr lang="ru-RU" sz="14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37" name="AutoShape 8"/>
          <p:cNvSpPr>
            <a:spLocks noChangeAspect="1" noChangeArrowheads="1"/>
          </p:cNvSpPr>
          <p:nvPr/>
        </p:nvSpPr>
        <p:spPr bwMode="auto">
          <a:xfrm>
            <a:off x="5522913" y="2513013"/>
            <a:ext cx="144462" cy="122237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FF0000"/>
            </a:solidFill>
            <a:round/>
            <a:headEnd/>
            <a:tailEnd/>
          </a:ln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grpSp>
        <p:nvGrpSpPr>
          <p:cNvPr id="38" name="Группа 153"/>
          <p:cNvGrpSpPr>
            <a:grpSpLocks/>
          </p:cNvGrpSpPr>
          <p:nvPr/>
        </p:nvGrpSpPr>
        <p:grpSpPr bwMode="auto">
          <a:xfrm rot="1056898">
            <a:off x="143292" y="5210636"/>
            <a:ext cx="1037674" cy="1377617"/>
            <a:chOff x="380114" y="4782244"/>
            <a:chExt cx="987419" cy="1218938"/>
          </a:xfrm>
        </p:grpSpPr>
        <p:sp>
          <p:nvSpPr>
            <p:cNvPr id="39" name="Стрелка вправо 38"/>
            <p:cNvSpPr>
              <a:spLocks noChangeArrowheads="1"/>
            </p:cNvSpPr>
            <p:nvPr/>
          </p:nvSpPr>
          <p:spPr bwMode="auto">
            <a:xfrm rot="6226193">
              <a:off x="303537" y="4937186"/>
              <a:ext cx="1140573" cy="987419"/>
            </a:xfrm>
            <a:prstGeom prst="rightArrow">
              <a:avLst>
                <a:gd name="adj1" fmla="val 50689"/>
                <a:gd name="adj2" fmla="val 49657"/>
              </a:avLst>
            </a:prstGeom>
            <a:solidFill>
              <a:srgbClr val="FFFFFF">
                <a:alpha val="47842"/>
              </a:srgbClr>
            </a:solidFill>
            <a:ln w="12700">
              <a:solidFill>
                <a:srgbClr val="7F7F7F"/>
              </a:solidFill>
              <a:miter lim="800000"/>
              <a:headEnd/>
              <a:tailEnd/>
            </a:ln>
            <a:effectLst>
              <a:outerShdw dist="38100" dir="5400000" algn="t" rotWithShape="0">
                <a:srgbClr val="000000">
                  <a:alpha val="39999"/>
                </a:srgbClr>
              </a:outerShdw>
            </a:effectLst>
          </p:spPr>
          <p:txBody>
            <a:bodyPr rot="10800000" vert="eaVert" lIns="36000" tIns="36000" rIns="36000" bIns="36000" anchor="ctr"/>
            <a:lstStyle/>
            <a:p>
              <a:pPr indent="182887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endParaRPr lang="ru-RU" sz="900" kern="0" dirty="0">
                <a:solidFill>
                  <a:srgbClr val="002060"/>
                </a:solidFill>
                <a:latin typeface="Impact" pitchFamily="34" charset="0"/>
                <a:cs typeface="Arial" pitchFamily="34" charset="0"/>
              </a:endParaRPr>
            </a:p>
          </p:txBody>
        </p:sp>
        <p:sp>
          <p:nvSpPr>
            <p:cNvPr id="40" name="Скругленный прямоугольник 149"/>
            <p:cNvSpPr>
              <a:spLocks/>
            </p:cNvSpPr>
            <p:nvPr/>
          </p:nvSpPr>
          <p:spPr bwMode="auto">
            <a:xfrm rot="17065486">
              <a:off x="426363" y="5049479"/>
              <a:ext cx="972550" cy="438079"/>
            </a:xfrm>
            <a:prstGeom prst="roundRect">
              <a:avLst>
                <a:gd name="adj" fmla="val 16667"/>
              </a:avLst>
            </a:prstGeom>
            <a:noFill/>
            <a:ln w="3175" algn="ctr">
              <a:noFill/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/>
              <a:r>
                <a:rPr lang="en-US" sz="1000" dirty="0" smtClean="0">
                  <a:solidFill>
                    <a:srgbClr val="002060"/>
                  </a:solidFill>
                  <a:latin typeface="Impact" pitchFamily="34" charset="0"/>
                  <a:cs typeface="Arial" pitchFamily="34" charset="0"/>
                </a:rPr>
                <a:t>Exit to the </a:t>
              </a:r>
              <a:br>
                <a:rPr lang="en-US" sz="1000" dirty="0" smtClean="0">
                  <a:solidFill>
                    <a:srgbClr val="002060"/>
                  </a:solidFill>
                  <a:latin typeface="Impact" pitchFamily="34" charset="0"/>
                  <a:cs typeface="Arial" pitchFamily="34" charset="0"/>
                </a:rPr>
              </a:br>
              <a:r>
                <a:rPr lang="en-US" sz="1000" dirty="0" smtClean="0">
                  <a:solidFill>
                    <a:srgbClr val="002060"/>
                  </a:solidFill>
                  <a:latin typeface="Impact" pitchFamily="34" charset="0"/>
                  <a:cs typeface="Arial" pitchFamily="34" charset="0"/>
                </a:rPr>
                <a:t>Persian Gulf</a:t>
              </a:r>
              <a:endParaRPr lang="ru-RU" sz="1000" dirty="0">
                <a:solidFill>
                  <a:srgbClr val="002060"/>
                </a:solidFill>
                <a:latin typeface="Impact" pitchFamily="34" charset="0"/>
                <a:cs typeface="Arial" pitchFamily="34" charset="0"/>
              </a:endParaRPr>
            </a:p>
          </p:txBody>
        </p:sp>
      </p:grpSp>
      <p:grpSp>
        <p:nvGrpSpPr>
          <p:cNvPr id="41" name="Группа 169"/>
          <p:cNvGrpSpPr>
            <a:grpSpLocks/>
          </p:cNvGrpSpPr>
          <p:nvPr/>
        </p:nvGrpSpPr>
        <p:grpSpPr bwMode="auto">
          <a:xfrm rot="-309289">
            <a:off x="7585496" y="4057790"/>
            <a:ext cx="1582738" cy="584734"/>
            <a:chOff x="5345145" y="5140414"/>
            <a:chExt cx="1174577" cy="628268"/>
          </a:xfrm>
        </p:grpSpPr>
        <p:sp>
          <p:nvSpPr>
            <p:cNvPr id="42" name="Стрелка вправо 41"/>
            <p:cNvSpPr/>
            <p:nvPr/>
          </p:nvSpPr>
          <p:spPr>
            <a:xfrm rot="1131595">
              <a:off x="5345145" y="5140414"/>
              <a:ext cx="1174577" cy="628268"/>
            </a:xfrm>
            <a:prstGeom prst="rightArrow">
              <a:avLst>
                <a:gd name="adj1" fmla="val 50000"/>
                <a:gd name="adj2" fmla="val 64416"/>
              </a:avLst>
            </a:prstGeom>
            <a:solidFill>
              <a:srgbClr val="FFFFFF">
                <a:alpha val="70000"/>
              </a:srgbClr>
            </a:solidFill>
            <a:ln w="12700">
              <a:solidFill>
                <a:srgbClr val="FFFFFF">
                  <a:lumMod val="50000"/>
                </a:srgbClr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>
              <a:normAutofit/>
            </a:bodyPr>
            <a:lstStyle/>
            <a:p>
              <a:pPr indent="182887" fontAlgn="auto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endParaRPr lang="ru-RU" sz="900" kern="0" dirty="0">
                <a:solidFill>
                  <a:srgbClr val="002060"/>
                </a:solidFill>
                <a:latin typeface="Impact" pitchFamily="34" charset="0"/>
                <a:cs typeface="Arial" pitchFamily="34" charset="0"/>
              </a:endParaRPr>
            </a:p>
          </p:txBody>
        </p:sp>
        <p:sp>
          <p:nvSpPr>
            <p:cNvPr id="43" name="Скругленный прямоугольник 42"/>
            <p:cNvSpPr>
              <a:spLocks/>
            </p:cNvSpPr>
            <p:nvPr/>
          </p:nvSpPr>
          <p:spPr>
            <a:xfrm rot="1094009">
              <a:off x="5352405" y="5182497"/>
              <a:ext cx="983083" cy="437894"/>
            </a:xfrm>
            <a:prstGeom prst="round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 smtClean="0">
                  <a:solidFill>
                    <a:srgbClr val="002060"/>
                  </a:solidFill>
                  <a:latin typeface="Impact" pitchFamily="34" charset="0"/>
                  <a:cs typeface="Arial" pitchFamily="34" charset="0"/>
                </a:rPr>
                <a:t>New  second transition with China</a:t>
              </a:r>
              <a:endParaRPr lang="ru-RU" sz="1000" kern="0" dirty="0">
                <a:solidFill>
                  <a:srgbClr val="002060"/>
                </a:solidFill>
                <a:latin typeface="Impact" pitchFamily="34" charset="0"/>
                <a:cs typeface="Arial" pitchFamily="34" charset="0"/>
              </a:endParaRPr>
            </a:p>
          </p:txBody>
        </p:sp>
      </p:grpSp>
      <p:sp>
        <p:nvSpPr>
          <p:cNvPr id="44" name="Скругленный прямоугольник 43"/>
          <p:cNvSpPr>
            <a:spLocks/>
          </p:cNvSpPr>
          <p:nvPr/>
        </p:nvSpPr>
        <p:spPr>
          <a:xfrm>
            <a:off x="982486" y="4469439"/>
            <a:ext cx="864096" cy="161925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Yeraliyevo</a:t>
            </a:r>
            <a:endParaRPr lang="ru-RU" sz="11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45" name="Скругленный прямоугольник 44"/>
          <p:cNvSpPr>
            <a:spLocks/>
          </p:cNvSpPr>
          <p:nvPr/>
        </p:nvSpPr>
        <p:spPr>
          <a:xfrm>
            <a:off x="6516216" y="4648202"/>
            <a:ext cx="648072" cy="163513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Zhrtygen</a:t>
            </a:r>
            <a:endParaRPr lang="ru-RU" sz="11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47" name="Line 119"/>
          <p:cNvSpPr>
            <a:spLocks noChangeShapeType="1"/>
          </p:cNvSpPr>
          <p:nvPr/>
        </p:nvSpPr>
        <p:spPr bwMode="auto">
          <a:xfrm flipH="1" flipV="1">
            <a:off x="7524328" y="4725142"/>
            <a:ext cx="504056" cy="720081"/>
          </a:xfrm>
          <a:prstGeom prst="line">
            <a:avLst/>
          </a:prstGeom>
          <a:ln w="254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767" tIns="47883" rIns="95767" bIns="47883"/>
          <a:lstStyle/>
          <a:p>
            <a:endParaRPr lang="ru-RU">
              <a:latin typeface="Impact" pitchFamily="34" charset="0"/>
            </a:endParaRPr>
          </a:p>
        </p:txBody>
      </p:sp>
      <p:sp>
        <p:nvSpPr>
          <p:cNvPr id="48" name="Line 121"/>
          <p:cNvSpPr>
            <a:spLocks noChangeShapeType="1"/>
          </p:cNvSpPr>
          <p:nvPr/>
        </p:nvSpPr>
        <p:spPr bwMode="auto">
          <a:xfrm flipH="1" flipV="1">
            <a:off x="1547664" y="5085184"/>
            <a:ext cx="792088" cy="360040"/>
          </a:xfrm>
          <a:prstGeom prst="line">
            <a:avLst/>
          </a:prstGeom>
          <a:ln w="254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767" tIns="47883" rIns="95767" bIns="47883"/>
          <a:lstStyle/>
          <a:p>
            <a:endParaRPr lang="ru-RU">
              <a:latin typeface="Impact" pitchFamily="34" charset="0"/>
            </a:endParaRPr>
          </a:p>
        </p:txBody>
      </p:sp>
      <p:sp>
        <p:nvSpPr>
          <p:cNvPr id="49" name="AutoShape 20"/>
          <p:cNvSpPr>
            <a:spLocks noChangeArrowheads="1"/>
          </p:cNvSpPr>
          <p:nvPr/>
        </p:nvSpPr>
        <p:spPr bwMode="auto">
          <a:xfrm>
            <a:off x="8412163" y="4054475"/>
            <a:ext cx="96837" cy="87313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50" name="AutoShape 20"/>
          <p:cNvSpPr>
            <a:spLocks noChangeArrowheads="1"/>
          </p:cNvSpPr>
          <p:nvPr/>
        </p:nvSpPr>
        <p:spPr bwMode="auto">
          <a:xfrm>
            <a:off x="7572375" y="3668713"/>
            <a:ext cx="98425" cy="87312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51" name="Скругленный прямоугольник 139"/>
          <p:cNvSpPr>
            <a:spLocks/>
          </p:cNvSpPr>
          <p:nvPr/>
        </p:nvSpPr>
        <p:spPr bwMode="auto">
          <a:xfrm>
            <a:off x="8390802" y="4006878"/>
            <a:ext cx="720205" cy="143371"/>
          </a:xfrm>
          <a:prstGeom prst="roundRect">
            <a:avLst>
              <a:gd name="adj" fmla="val 16667"/>
            </a:avLst>
          </a:prstGeom>
          <a:noFill/>
          <a:ln w="3175" algn="ctr">
            <a:noFill/>
            <a:round/>
            <a:headEnd/>
            <a:tailEnd/>
          </a:ln>
        </p:spPr>
        <p:txBody>
          <a:bodyPr lIns="37703" tIns="37703" rIns="37703" bIns="37703" anchor="ctr"/>
          <a:lstStyle/>
          <a:p>
            <a:pPr algn="ctr"/>
            <a:r>
              <a:rPr lang="en-US" sz="100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Dostyk</a:t>
            </a:r>
            <a:endParaRPr lang="ru-RU" sz="110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52" name="Скругленный прямоугольник 139"/>
          <p:cNvSpPr>
            <a:spLocks/>
          </p:cNvSpPr>
          <p:nvPr/>
        </p:nvSpPr>
        <p:spPr bwMode="auto">
          <a:xfrm>
            <a:off x="7618778" y="3533335"/>
            <a:ext cx="647402" cy="161925"/>
          </a:xfrm>
          <a:prstGeom prst="roundRect">
            <a:avLst>
              <a:gd name="adj" fmla="val 16667"/>
            </a:avLst>
          </a:prstGeom>
          <a:noFill/>
          <a:ln w="3175" algn="ctr">
            <a:noFill/>
            <a:round/>
            <a:headEnd/>
            <a:tailEnd/>
          </a:ln>
        </p:spPr>
        <p:txBody>
          <a:bodyPr lIns="37703" tIns="37703" rIns="37703" bIns="37703" anchor="ctr"/>
          <a:lstStyle/>
          <a:p>
            <a:pPr algn="ctr"/>
            <a:r>
              <a:rPr lang="en-US" sz="100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Aktogai</a:t>
            </a:r>
            <a:endParaRPr lang="ru-RU" sz="110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54" name="Text Box 59"/>
          <p:cNvSpPr txBox="1">
            <a:spLocks noChangeArrowheads="1"/>
          </p:cNvSpPr>
          <p:nvPr/>
        </p:nvSpPr>
        <p:spPr bwMode="auto">
          <a:xfrm>
            <a:off x="1403648" y="5504532"/>
            <a:ext cx="1944216" cy="936104"/>
          </a:xfrm>
          <a:prstGeom prst="rect">
            <a:avLst/>
          </a:prstGeom>
          <a:solidFill>
            <a:srgbClr val="FF9900">
              <a:alpha val="30000"/>
            </a:srgbClr>
          </a:solidFill>
          <a:ln w="9525">
            <a:noFill/>
            <a:miter lim="800000"/>
            <a:headEnd/>
            <a:tailEnd/>
          </a:ln>
        </p:spPr>
        <p:txBody>
          <a:bodyPr lIns="35994" tIns="35994" rIns="35994" bIns="35994" anchor="ctr"/>
          <a:lstStyle/>
          <a:p>
            <a:pPr algn="ctr"/>
            <a:endParaRPr lang="ru-RU" sz="1050" dirty="0">
              <a:solidFill>
                <a:srgbClr val="002060"/>
              </a:solidFill>
              <a:latin typeface="Impact" panose="020B0806030902050204" pitchFamily="34" charset="0"/>
              <a:cs typeface="Arial" pitchFamily="34" charset="0"/>
            </a:endParaRPr>
          </a:p>
          <a:p>
            <a:pPr>
              <a:buFont typeface="Wingdings 2" pitchFamily="18" charset="2"/>
              <a:buChar char="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u="sng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otal lengt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926,5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km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,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including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:</a:t>
            </a:r>
          </a:p>
          <a:p>
            <a:pPr marL="179388" lvl="1" indent="-93663">
              <a:buFont typeface="Wingdings" pitchFamily="2" charset="2"/>
              <a:buChar char="ü"/>
            </a:pP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azakhstan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dirty="0" smtClean="0">
                <a:solidFill>
                  <a:srgbClr val="C00000"/>
                </a:solidFill>
                <a:latin typeface="Calibri" pitchFamily="34" charset="0"/>
                <a:cs typeface="Arial" pitchFamily="34" charset="0"/>
              </a:rPr>
              <a:t>146 </a:t>
            </a:r>
            <a:r>
              <a:rPr lang="en-US" sz="900" dirty="0" smtClean="0">
                <a:solidFill>
                  <a:srgbClr val="C00000"/>
                </a:solidFill>
                <a:latin typeface="Calibri" pitchFamily="34" charset="0"/>
                <a:cs typeface="Arial" pitchFamily="34" charset="0"/>
              </a:rPr>
              <a:t>km</a:t>
            </a:r>
            <a:r>
              <a:rPr lang="ru-RU" sz="900" dirty="0" smtClean="0">
                <a:solidFill>
                  <a:srgbClr val="C00000"/>
                </a:solidFill>
                <a:latin typeface="Calibri" pitchFamily="34" charset="0"/>
                <a:cs typeface="Arial" pitchFamily="34" charset="0"/>
              </a:rPr>
              <a:t>;</a:t>
            </a:r>
            <a:endParaRPr lang="ru-RU" sz="900" dirty="0" smtClean="0">
              <a:latin typeface="Calibri" pitchFamily="34" charset="0"/>
              <a:cs typeface="Arial" pitchFamily="34" charset="0"/>
            </a:endParaRPr>
          </a:p>
          <a:p>
            <a:pPr marL="179388" lvl="1" indent="-93663">
              <a:buFont typeface="Wingdings" pitchFamily="2" charset="2"/>
              <a:buChar char="ü"/>
            </a:pP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urkmenistan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ru-RU" sz="900" dirty="0" smtClean="0">
                <a:solidFill>
                  <a:srgbClr val="006600"/>
                </a:solidFill>
                <a:latin typeface="Calibri" pitchFamily="34" charset="0"/>
                <a:cs typeface="Arial" pitchFamily="34" charset="0"/>
              </a:rPr>
              <a:t>700,5 </a:t>
            </a:r>
            <a:r>
              <a:rPr lang="en-US" sz="900" dirty="0" smtClean="0">
                <a:solidFill>
                  <a:srgbClr val="006600"/>
                </a:solidFill>
                <a:latin typeface="Calibri" pitchFamily="34" charset="0"/>
                <a:cs typeface="Arial" pitchFamily="34" charset="0"/>
              </a:rPr>
              <a:t>km</a:t>
            </a:r>
            <a:r>
              <a:rPr lang="ru-RU" sz="900" dirty="0" smtClean="0">
                <a:solidFill>
                  <a:srgbClr val="006600"/>
                </a:solidFill>
                <a:latin typeface="Calibri" pitchFamily="34" charset="0"/>
                <a:cs typeface="Arial" pitchFamily="34" charset="0"/>
              </a:rPr>
              <a:t>;</a:t>
            </a:r>
            <a:endParaRPr lang="ru-RU" sz="900" dirty="0" smtClean="0">
              <a:latin typeface="Calibri" pitchFamily="34" charset="0"/>
              <a:cs typeface="Arial" pitchFamily="34" charset="0"/>
            </a:endParaRPr>
          </a:p>
          <a:p>
            <a:pPr marL="179388" lvl="1" indent="-93663">
              <a:buFont typeface="Wingdings" pitchFamily="2" charset="2"/>
              <a:buChar char="ü"/>
            </a:pP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ran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80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km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.</a:t>
            </a:r>
          </a:p>
        </p:txBody>
      </p:sp>
      <p:sp>
        <p:nvSpPr>
          <p:cNvPr id="56" name="Text Box 62"/>
          <p:cNvSpPr txBox="1">
            <a:spLocks noChangeArrowheads="1"/>
          </p:cNvSpPr>
          <p:nvPr/>
        </p:nvSpPr>
        <p:spPr bwMode="auto">
          <a:xfrm>
            <a:off x="6372200" y="5491832"/>
            <a:ext cx="1944216" cy="864096"/>
          </a:xfrm>
          <a:prstGeom prst="rect">
            <a:avLst/>
          </a:prstGeom>
          <a:solidFill>
            <a:srgbClr val="FF9900">
              <a:alpha val="30000"/>
            </a:srgbClr>
          </a:solidFill>
          <a:ln w="9525">
            <a:noFill/>
            <a:miter lim="800000"/>
            <a:headEnd/>
            <a:tailEnd/>
          </a:ln>
        </p:spPr>
        <p:txBody>
          <a:bodyPr lIns="35994" tIns="35994" rIns="35994" bIns="35994" anchor="ctr"/>
          <a:lstStyle/>
          <a:p>
            <a:pPr algn="ctr">
              <a:defRPr/>
            </a:pPr>
            <a:endParaRPr lang="ru-RU" sz="1050" dirty="0">
              <a:solidFill>
                <a:srgbClr val="002060"/>
              </a:solidFill>
              <a:latin typeface="Impact" panose="020B0806030902050204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 2" pitchFamily="18" charset="2"/>
              <a:buChar char=""/>
              <a:defRPr/>
            </a:pPr>
            <a:r>
              <a:rPr lang="ru-RU" sz="900" spc="10" dirty="0" smtClean="0">
                <a:latin typeface="+mj-lt"/>
                <a:cs typeface="Arial" pitchFamily="34" charset="0"/>
              </a:rPr>
              <a:t> </a:t>
            </a:r>
            <a:r>
              <a:rPr lang="ru-RU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u="sng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Total length</a:t>
            </a:r>
            <a:r>
              <a:rPr lang="ru-RU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– 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579</a:t>
            </a:r>
            <a:r>
              <a:rPr lang="ru-RU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km</a:t>
            </a:r>
            <a:r>
              <a:rPr lang="ru-RU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,</a:t>
            </a:r>
            <a:r>
              <a:rPr lang="en-US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including</a:t>
            </a:r>
            <a:r>
              <a:rPr lang="ru-RU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:</a:t>
            </a:r>
          </a:p>
          <a:p>
            <a:pPr marL="179388" lvl="1" indent="-936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Kazakhstan</a:t>
            </a:r>
            <a:r>
              <a:rPr lang="ru-RU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– </a:t>
            </a:r>
            <a:r>
              <a:rPr lang="ru-RU" sz="900" dirty="0" smtClean="0">
                <a:solidFill>
                  <a:srgbClr val="C00000"/>
                </a:solidFill>
                <a:latin typeface="Calibri" pitchFamily="34" charset="0"/>
                <a:cs typeface="Arial" pitchFamily="34" charset="0"/>
              </a:rPr>
              <a:t>293</a:t>
            </a:r>
            <a:r>
              <a:rPr lang="ru-RU" sz="900" spc="1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spc="1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km</a:t>
            </a:r>
            <a:r>
              <a:rPr lang="ru-RU" sz="900" spc="10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;</a:t>
            </a:r>
            <a:endParaRPr lang="ru-RU" sz="900" spc="10" dirty="0" smtClean="0">
              <a:latin typeface="+mj-lt"/>
              <a:cs typeface="Arial" pitchFamily="34" charset="0"/>
            </a:endParaRPr>
          </a:p>
          <a:p>
            <a:pPr marL="179388" lvl="1" indent="-9366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900" spc="1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China</a:t>
            </a:r>
            <a:r>
              <a:rPr lang="ru-RU" sz="900" spc="1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 – </a:t>
            </a:r>
            <a:r>
              <a:rPr lang="ru-RU" sz="900" dirty="0" smtClean="0">
                <a:solidFill>
                  <a:srgbClr val="006600"/>
                </a:solidFill>
                <a:latin typeface="Calibri" pitchFamily="34" charset="0"/>
                <a:cs typeface="Arial" pitchFamily="34" charset="0"/>
              </a:rPr>
              <a:t>286</a:t>
            </a:r>
            <a:r>
              <a:rPr lang="ru-RU" sz="900" spc="10" dirty="0" smtClean="0">
                <a:solidFill>
                  <a:srgbClr val="006600"/>
                </a:solidFill>
                <a:latin typeface="+mj-lt"/>
                <a:cs typeface="Arial" pitchFamily="34" charset="0"/>
              </a:rPr>
              <a:t> </a:t>
            </a:r>
            <a:r>
              <a:rPr lang="en-US" sz="900" spc="10" dirty="0" smtClean="0">
                <a:solidFill>
                  <a:srgbClr val="006600"/>
                </a:solidFill>
                <a:latin typeface="+mj-lt"/>
                <a:cs typeface="Arial" pitchFamily="34" charset="0"/>
              </a:rPr>
              <a:t>km</a:t>
            </a:r>
            <a:r>
              <a:rPr lang="ru-RU" sz="900" spc="10" dirty="0" smtClean="0">
                <a:solidFill>
                  <a:srgbClr val="006600"/>
                </a:solidFill>
                <a:latin typeface="+mj-lt"/>
                <a:cs typeface="Arial" pitchFamily="34" charset="0"/>
              </a:rPr>
              <a:t>.</a:t>
            </a:r>
            <a:endParaRPr lang="ru-RU" sz="900" spc="10" dirty="0">
              <a:latin typeface="+mn-lt"/>
              <a:cs typeface="Arial" pitchFamily="34" charset="0"/>
            </a:endParaRPr>
          </a:p>
        </p:txBody>
      </p:sp>
      <p:sp>
        <p:nvSpPr>
          <p:cNvPr id="57" name="AutoShape 9"/>
          <p:cNvSpPr>
            <a:spLocks noChangeArrowheads="1"/>
          </p:cNvSpPr>
          <p:nvPr/>
        </p:nvSpPr>
        <p:spPr bwMode="auto">
          <a:xfrm>
            <a:off x="6948264" y="5013176"/>
            <a:ext cx="864096" cy="288032"/>
          </a:xfrm>
          <a:prstGeom prst="roundRect">
            <a:avLst>
              <a:gd name="adj" fmla="val 16667"/>
            </a:avLst>
          </a:prstGeom>
          <a:noFill/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852" tIns="37703" rIns="18852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MATY</a:t>
            </a:r>
            <a:endParaRPr lang="ru-RU" sz="1400" b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AutoShape 8"/>
          <p:cNvSpPr>
            <a:spLocks noChangeAspect="1" noChangeArrowheads="1"/>
          </p:cNvSpPr>
          <p:nvPr/>
        </p:nvSpPr>
        <p:spPr bwMode="auto">
          <a:xfrm>
            <a:off x="7072313" y="4929188"/>
            <a:ext cx="144462" cy="122237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FF0000"/>
            </a:solidFill>
            <a:round/>
            <a:headEnd/>
            <a:tailEnd/>
          </a:ln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>
            <a:off x="1258888" y="4797425"/>
            <a:ext cx="104775" cy="225425"/>
          </a:xfrm>
          <a:prstGeom prst="line">
            <a:avLst/>
          </a:prstGeom>
          <a:ln w="22225" cmpd="sng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Line 45"/>
          <p:cNvSpPr>
            <a:spLocks noChangeShapeType="1"/>
          </p:cNvSpPr>
          <p:nvPr/>
        </p:nvSpPr>
        <p:spPr bwMode="auto">
          <a:xfrm>
            <a:off x="1259632" y="4797151"/>
            <a:ext cx="144016" cy="288033"/>
          </a:xfrm>
          <a:prstGeom prst="line">
            <a:avLst/>
          </a:prstGeom>
          <a:ln w="66675" cmpd="dbl">
            <a:solidFill>
              <a:srgbClr val="003399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61" name="AutoShape 20"/>
          <p:cNvSpPr>
            <a:spLocks noChangeArrowheads="1"/>
          </p:cNvSpPr>
          <p:nvPr/>
        </p:nvSpPr>
        <p:spPr bwMode="auto">
          <a:xfrm>
            <a:off x="1347788" y="5010150"/>
            <a:ext cx="106362" cy="87313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62" name="Line 45"/>
          <p:cNvSpPr>
            <a:spLocks noChangeShapeType="1"/>
          </p:cNvSpPr>
          <p:nvPr/>
        </p:nvSpPr>
        <p:spPr bwMode="auto">
          <a:xfrm flipV="1">
            <a:off x="7236296" y="4509115"/>
            <a:ext cx="648072" cy="288036"/>
          </a:xfrm>
          <a:prstGeom prst="line">
            <a:avLst/>
          </a:prstGeom>
          <a:ln w="66675" cmpd="dbl">
            <a:solidFill>
              <a:srgbClr val="003399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Impact" pitchFamily="34" charset="0"/>
            </a:endParaRPr>
          </a:p>
        </p:txBody>
      </p:sp>
      <p:cxnSp>
        <p:nvCxnSpPr>
          <p:cNvPr id="63" name="Прямая соединительная линия 62"/>
          <p:cNvCxnSpPr>
            <a:stCxn id="92" idx="7"/>
            <a:endCxn id="64" idx="2"/>
          </p:cNvCxnSpPr>
          <p:nvPr/>
        </p:nvCxnSpPr>
        <p:spPr>
          <a:xfrm flipV="1">
            <a:off x="7221538" y="4513263"/>
            <a:ext cx="642937" cy="282575"/>
          </a:xfrm>
          <a:prstGeom prst="line">
            <a:avLst/>
          </a:prstGeom>
          <a:ln w="22225" cmpd="sng">
            <a:solidFill>
              <a:srgbClr val="0033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AutoShape 20"/>
          <p:cNvSpPr>
            <a:spLocks noChangeArrowheads="1"/>
          </p:cNvSpPr>
          <p:nvPr/>
        </p:nvSpPr>
        <p:spPr bwMode="auto">
          <a:xfrm>
            <a:off x="7864475" y="4468813"/>
            <a:ext cx="98425" cy="87312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cxnSp>
        <p:nvCxnSpPr>
          <p:cNvPr id="65" name="Прямая соединительная линия 64"/>
          <p:cNvCxnSpPr>
            <a:stCxn id="69" idx="5"/>
            <a:endCxn id="70" idx="1"/>
          </p:cNvCxnSpPr>
          <p:nvPr/>
        </p:nvCxnSpPr>
        <p:spPr>
          <a:xfrm>
            <a:off x="4714875" y="2928938"/>
            <a:ext cx="361950" cy="352425"/>
          </a:xfrm>
          <a:prstGeom prst="line">
            <a:avLst/>
          </a:prstGeom>
          <a:ln w="38100" cmpd="sng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AutoShape 20"/>
          <p:cNvSpPr>
            <a:spLocks noChangeArrowheads="1"/>
          </p:cNvSpPr>
          <p:nvPr/>
        </p:nvSpPr>
        <p:spPr bwMode="auto">
          <a:xfrm>
            <a:off x="3481388" y="3916363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67" name="Line 45"/>
          <p:cNvSpPr>
            <a:spLocks noChangeShapeType="1"/>
          </p:cNvSpPr>
          <p:nvPr/>
        </p:nvSpPr>
        <p:spPr bwMode="auto">
          <a:xfrm flipH="1">
            <a:off x="1907704" y="3573016"/>
            <a:ext cx="1224136" cy="540008"/>
          </a:xfrm>
          <a:prstGeom prst="line">
            <a:avLst/>
          </a:prstGeom>
          <a:ln w="66675" cmpd="dbl">
            <a:solidFill>
              <a:srgbClr val="C00000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68" name="AutoShape 20"/>
          <p:cNvSpPr>
            <a:spLocks noChangeArrowheads="1"/>
          </p:cNvSpPr>
          <p:nvPr/>
        </p:nvSpPr>
        <p:spPr bwMode="auto">
          <a:xfrm rot="21101255">
            <a:off x="3071813" y="3544888"/>
            <a:ext cx="84137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69" name="AutoShape 20"/>
          <p:cNvSpPr>
            <a:spLocks noChangeArrowheads="1"/>
          </p:cNvSpPr>
          <p:nvPr/>
        </p:nvSpPr>
        <p:spPr bwMode="auto">
          <a:xfrm>
            <a:off x="4645025" y="2852738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70" name="AutoShape 20"/>
          <p:cNvSpPr>
            <a:spLocks noChangeArrowheads="1"/>
          </p:cNvSpPr>
          <p:nvPr/>
        </p:nvSpPr>
        <p:spPr bwMode="auto">
          <a:xfrm>
            <a:off x="5065713" y="3268663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cxnSp>
        <p:nvCxnSpPr>
          <p:cNvPr id="71" name="Прямая соединительная линия 70"/>
          <p:cNvCxnSpPr>
            <a:stCxn id="66" idx="6"/>
            <a:endCxn id="76" idx="2"/>
          </p:cNvCxnSpPr>
          <p:nvPr/>
        </p:nvCxnSpPr>
        <p:spPr>
          <a:xfrm flipV="1">
            <a:off x="3563938" y="3681413"/>
            <a:ext cx="1295400" cy="279400"/>
          </a:xfrm>
          <a:prstGeom prst="line">
            <a:avLst/>
          </a:prstGeom>
          <a:ln w="38100" cmpd="sng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>
            <a:stCxn id="67" idx="1"/>
            <a:endCxn id="68" idx="2"/>
          </p:cNvCxnSpPr>
          <p:nvPr/>
        </p:nvCxnSpPr>
        <p:spPr>
          <a:xfrm flipV="1">
            <a:off x="1907704" y="3595420"/>
            <a:ext cx="1164551" cy="517604"/>
          </a:xfrm>
          <a:prstGeom prst="line">
            <a:avLst/>
          </a:prstGeom>
          <a:ln w="38100" cmpd="sng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>
            <a:stCxn id="69" idx="5"/>
            <a:endCxn id="70" idx="1"/>
          </p:cNvCxnSpPr>
          <p:nvPr/>
        </p:nvCxnSpPr>
        <p:spPr bwMode="auto">
          <a:xfrm>
            <a:off x="4715263" y="2928817"/>
            <a:ext cx="362316" cy="352294"/>
          </a:xfrm>
          <a:prstGeom prst="line">
            <a:avLst/>
          </a:prstGeom>
          <a:ln w="66675" cmpd="dbl">
            <a:solidFill>
              <a:srgbClr val="C00000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AutoShape 20"/>
          <p:cNvSpPr>
            <a:spLocks noChangeArrowheads="1"/>
          </p:cNvSpPr>
          <p:nvPr/>
        </p:nvSpPr>
        <p:spPr bwMode="auto">
          <a:xfrm>
            <a:off x="1181100" y="4729163"/>
            <a:ext cx="104775" cy="88900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75" name="Line 45"/>
          <p:cNvSpPr>
            <a:spLocks noChangeAspect="1" noChangeShapeType="1"/>
          </p:cNvSpPr>
          <p:nvPr/>
        </p:nvSpPr>
        <p:spPr bwMode="auto">
          <a:xfrm flipH="1">
            <a:off x="3563888" y="3661190"/>
            <a:ext cx="1368152" cy="307834"/>
          </a:xfrm>
          <a:prstGeom prst="line">
            <a:avLst/>
          </a:prstGeom>
          <a:ln w="66675" cmpd="dbl">
            <a:solidFill>
              <a:srgbClr val="C00000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76" name="AutoShape 20"/>
          <p:cNvSpPr>
            <a:spLocks noChangeArrowheads="1"/>
          </p:cNvSpPr>
          <p:nvPr/>
        </p:nvSpPr>
        <p:spPr bwMode="auto">
          <a:xfrm>
            <a:off x="4859338" y="3644900"/>
            <a:ext cx="82550" cy="71438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77" name="Line 121"/>
          <p:cNvSpPr>
            <a:spLocks noChangeShapeType="1"/>
          </p:cNvSpPr>
          <p:nvPr/>
        </p:nvSpPr>
        <p:spPr bwMode="auto">
          <a:xfrm>
            <a:off x="1233487" y="1268760"/>
            <a:ext cx="2906714" cy="2520603"/>
          </a:xfrm>
          <a:prstGeom prst="line">
            <a:avLst/>
          </a:prstGeom>
          <a:ln w="254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767" tIns="47883" rIns="95767" bIns="47883"/>
          <a:lstStyle/>
          <a:p>
            <a:endParaRPr lang="ru-RU">
              <a:latin typeface="Impact" pitchFamily="34" charset="0"/>
            </a:endParaRPr>
          </a:p>
        </p:txBody>
      </p:sp>
      <p:sp>
        <p:nvSpPr>
          <p:cNvPr id="78" name="Line 121"/>
          <p:cNvSpPr>
            <a:spLocks noChangeShapeType="1"/>
          </p:cNvSpPr>
          <p:nvPr/>
        </p:nvSpPr>
        <p:spPr bwMode="auto">
          <a:xfrm>
            <a:off x="1228017" y="1276251"/>
            <a:ext cx="1260389" cy="2504628"/>
          </a:xfrm>
          <a:prstGeom prst="line">
            <a:avLst/>
          </a:prstGeom>
          <a:ln w="254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767" tIns="47883" rIns="95767" bIns="47883"/>
          <a:lstStyle/>
          <a:p>
            <a:endParaRPr lang="ru-RU">
              <a:latin typeface="Impact" pitchFamily="34" charset="0"/>
            </a:endParaRPr>
          </a:p>
        </p:txBody>
      </p:sp>
      <p:sp>
        <p:nvSpPr>
          <p:cNvPr id="79" name="Line 121"/>
          <p:cNvSpPr>
            <a:spLocks noChangeShapeType="1"/>
          </p:cNvSpPr>
          <p:nvPr/>
        </p:nvSpPr>
        <p:spPr bwMode="auto">
          <a:xfrm>
            <a:off x="3757958" y="1340768"/>
            <a:ext cx="810867" cy="1461245"/>
          </a:xfrm>
          <a:prstGeom prst="line">
            <a:avLst/>
          </a:prstGeom>
          <a:ln w="2540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5767" tIns="47883" rIns="95767" bIns="47883"/>
          <a:lstStyle/>
          <a:p>
            <a:endParaRPr lang="ru-RU">
              <a:latin typeface="Impact" pitchFamily="34" charset="0"/>
            </a:endParaRPr>
          </a:p>
        </p:txBody>
      </p:sp>
      <p:sp>
        <p:nvSpPr>
          <p:cNvPr id="80" name="Скругленный прямоугольник 79"/>
          <p:cNvSpPr>
            <a:spLocks/>
          </p:cNvSpPr>
          <p:nvPr/>
        </p:nvSpPr>
        <p:spPr>
          <a:xfrm>
            <a:off x="4748674" y="3736886"/>
            <a:ext cx="797991" cy="163512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Zhezkazgan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>
            <a:spLocks/>
          </p:cNvSpPr>
          <p:nvPr/>
        </p:nvSpPr>
        <p:spPr>
          <a:xfrm>
            <a:off x="2527312" y="3961520"/>
            <a:ext cx="1013594" cy="163513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Saksaul’skaya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82" name="Скругленный прямоугольник 81"/>
          <p:cNvSpPr>
            <a:spLocks/>
          </p:cNvSpPr>
          <p:nvPr/>
        </p:nvSpPr>
        <p:spPr>
          <a:xfrm>
            <a:off x="3085773" y="3433765"/>
            <a:ext cx="648097" cy="163512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Shalkar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83" name="Скругленный прямоугольник 82"/>
          <p:cNvSpPr>
            <a:spLocks/>
          </p:cNvSpPr>
          <p:nvPr/>
        </p:nvSpPr>
        <p:spPr>
          <a:xfrm>
            <a:off x="1320754" y="4007339"/>
            <a:ext cx="575345" cy="163513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Beineu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84" name="Скругленный прямоугольник 83"/>
          <p:cNvSpPr>
            <a:spLocks/>
          </p:cNvSpPr>
          <p:nvPr/>
        </p:nvSpPr>
        <p:spPr>
          <a:xfrm>
            <a:off x="3996506" y="2811667"/>
            <a:ext cx="719510" cy="163513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Arkalyk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86" name="Text Box 59"/>
          <p:cNvSpPr txBox="1">
            <a:spLocks noChangeArrowheads="1"/>
          </p:cNvSpPr>
          <p:nvPr/>
        </p:nvSpPr>
        <p:spPr bwMode="auto">
          <a:xfrm>
            <a:off x="80075" y="588938"/>
            <a:ext cx="2439697" cy="679822"/>
          </a:xfrm>
          <a:prstGeom prst="rect">
            <a:avLst/>
          </a:prstGeom>
          <a:solidFill>
            <a:srgbClr val="FF9900">
              <a:alpha val="30000"/>
            </a:srgbClr>
          </a:solidFill>
          <a:ln w="9525">
            <a:noFill/>
            <a:miter lim="800000"/>
            <a:headEnd/>
            <a:tailEnd/>
          </a:ln>
        </p:spPr>
        <p:txBody>
          <a:bodyPr lIns="35994" tIns="35994" rIns="35994" bIns="35994" anchor="ctr"/>
          <a:lstStyle/>
          <a:p>
            <a:pPr algn="ctr"/>
            <a:r>
              <a:rPr lang="ru-RU" sz="1000" dirty="0" smtClean="0">
                <a:solidFill>
                  <a:srgbClr val="002060"/>
                </a:solidFill>
                <a:latin typeface="Impact" panose="020B0806030902050204" pitchFamily="34" charset="0"/>
                <a:cs typeface="Arial" pitchFamily="34" charset="0"/>
              </a:rPr>
              <a:t>ЖЕЗКАЗГАН – БЕЙНЕУ</a:t>
            </a:r>
          </a:p>
          <a:p>
            <a:pPr>
              <a:buFont typeface="Wingdings 2" pitchFamily="18" charset="2"/>
              <a:buChar char="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 </a:t>
            </a:r>
            <a:r>
              <a:rPr lang="en-US" sz="900" u="sng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engt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036</a:t>
            </a:r>
            <a:r>
              <a:rPr lang="ru-RU" sz="900" dirty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km</a:t>
            </a:r>
            <a:endParaRPr lang="ru-RU" sz="900" dirty="0">
              <a:latin typeface="Calibri" pitchFamily="34" charset="0"/>
              <a:cs typeface="Arial" pitchFamily="34" charset="0"/>
            </a:endParaRPr>
          </a:p>
          <a:p>
            <a:pPr>
              <a:buFont typeface="Wingdings 2" pitchFamily="18" charset="2"/>
              <a:buChar char=""/>
            </a:pP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Volume of transportations by 2026 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– 21,3 </a:t>
            </a:r>
            <a:r>
              <a:rPr lang="en-US" sz="900" dirty="0" err="1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mln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.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tons</a:t>
            </a:r>
            <a:endParaRPr lang="ru-RU" sz="900" dirty="0" smtClean="0">
              <a:solidFill>
                <a:srgbClr val="00206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 2" pitchFamily="18" charset="2"/>
              <a:buChar char=""/>
            </a:pP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Realization term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– 2016 </a:t>
            </a:r>
            <a:endParaRPr lang="ru-RU" sz="10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88" name="Text Box 59"/>
          <p:cNvSpPr txBox="1">
            <a:spLocks noChangeArrowheads="1"/>
          </p:cNvSpPr>
          <p:nvPr/>
        </p:nvSpPr>
        <p:spPr bwMode="auto">
          <a:xfrm>
            <a:off x="2555776" y="593030"/>
            <a:ext cx="2397990" cy="675730"/>
          </a:xfrm>
          <a:prstGeom prst="rect">
            <a:avLst/>
          </a:prstGeom>
          <a:solidFill>
            <a:srgbClr val="FF9900">
              <a:alpha val="30000"/>
            </a:srgbClr>
          </a:solidFill>
          <a:ln w="9525">
            <a:noFill/>
            <a:miter lim="800000"/>
            <a:headEnd/>
            <a:tailEnd/>
          </a:ln>
        </p:spPr>
        <p:txBody>
          <a:bodyPr lIns="35994" tIns="35994" rIns="35994" bIns="35994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АРКАЛЫК – ШУБАРКОЛЬ</a:t>
            </a:r>
          </a:p>
          <a:p>
            <a:pPr>
              <a:buFont typeface="Wingdings 2" pitchFamily="18" charset="2"/>
              <a:buChar char=""/>
            </a:pPr>
            <a:r>
              <a:rPr lang="ru-RU" sz="9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900" u="sng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ength</a:t>
            </a:r>
            <a:r>
              <a:rPr lang="ru-RU" sz="9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14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m</a:t>
            </a:r>
            <a:endParaRPr lang="ru-RU" sz="9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 2" pitchFamily="18" charset="2"/>
              <a:buChar char=""/>
            </a:pPr>
            <a:r>
              <a:rPr lang="ru-RU" sz="9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Volume of transportations by 2023 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8,6 </a:t>
            </a:r>
            <a:r>
              <a:rPr lang="en-US" sz="900" dirty="0" err="1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mln</a:t>
            </a:r>
            <a:r>
              <a:rPr lang="ru-RU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.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 tons</a:t>
            </a:r>
            <a:endParaRPr lang="ru-RU" sz="9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 2" pitchFamily="18" charset="2"/>
              <a:buChar char=""/>
            </a:pPr>
            <a:r>
              <a:rPr lang="ru-RU" sz="9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900" dirty="0" smtClean="0">
                <a:solidFill>
                  <a:srgbClr val="002060"/>
                </a:solidFill>
                <a:latin typeface="Calibri" pitchFamily="34" charset="0"/>
                <a:cs typeface="Arial" pitchFamily="34" charset="0"/>
              </a:rPr>
              <a:t>Realization term </a:t>
            </a:r>
            <a:r>
              <a:rPr lang="ru-RU" sz="9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– 2015</a:t>
            </a:r>
            <a:endParaRPr lang="ru-RU" sz="9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9" name="Прямая соединительная линия 88"/>
          <p:cNvCxnSpPr>
            <a:stCxn id="91" idx="3"/>
            <a:endCxn id="92" idx="7"/>
          </p:cNvCxnSpPr>
          <p:nvPr/>
        </p:nvCxnSpPr>
        <p:spPr>
          <a:xfrm flipV="1">
            <a:off x="6861543" y="4795692"/>
            <a:ext cx="359403" cy="146639"/>
          </a:xfrm>
          <a:prstGeom prst="line">
            <a:avLst/>
          </a:prstGeom>
          <a:ln w="22225" cmpd="sng">
            <a:solidFill>
              <a:srgbClr val="0033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Line 45"/>
          <p:cNvSpPr>
            <a:spLocks noChangeShapeType="1"/>
          </p:cNvSpPr>
          <p:nvPr/>
        </p:nvSpPr>
        <p:spPr bwMode="auto">
          <a:xfrm flipH="1">
            <a:off x="6876256" y="4797152"/>
            <a:ext cx="360040" cy="144016"/>
          </a:xfrm>
          <a:prstGeom prst="line">
            <a:avLst/>
          </a:prstGeom>
          <a:ln w="66675" cmpd="dbl">
            <a:solidFill>
              <a:srgbClr val="003399"/>
            </a:solidFill>
            <a:prstDash val="solid"/>
          </a:ln>
          <a:scene3d>
            <a:camera prst="orthographicFront"/>
            <a:lightRig rig="threePt" dir="t"/>
          </a:scene3d>
          <a:sp3d extrusionH="76200">
            <a:extrusionClr>
              <a:schemeClr val="tx1"/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Impact" pitchFamily="34" charset="0"/>
            </a:endParaRPr>
          </a:p>
        </p:txBody>
      </p:sp>
      <p:sp>
        <p:nvSpPr>
          <p:cNvPr id="91" name="AutoShape 20"/>
          <p:cNvSpPr>
            <a:spLocks noChangeArrowheads="1"/>
          </p:cNvSpPr>
          <p:nvPr/>
        </p:nvSpPr>
        <p:spPr bwMode="auto">
          <a:xfrm>
            <a:off x="6846664" y="4869160"/>
            <a:ext cx="101600" cy="85725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92" name="AutoShape 20"/>
          <p:cNvSpPr>
            <a:spLocks noChangeArrowheads="1"/>
          </p:cNvSpPr>
          <p:nvPr/>
        </p:nvSpPr>
        <p:spPr bwMode="auto">
          <a:xfrm>
            <a:off x="7134225" y="4783138"/>
            <a:ext cx="101600" cy="85725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96" name="Скругленный прямоугольник 95"/>
          <p:cNvSpPr>
            <a:spLocks/>
          </p:cNvSpPr>
          <p:nvPr/>
        </p:nvSpPr>
        <p:spPr>
          <a:xfrm>
            <a:off x="4283968" y="3230554"/>
            <a:ext cx="864295" cy="163513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Shubarkol</a:t>
            </a:r>
            <a:r>
              <a:rPr lang="en-US" sz="1000" kern="0" dirty="0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’</a:t>
            </a:r>
            <a:endParaRPr lang="ru-RU" sz="10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100" name="AutoShape 20"/>
          <p:cNvSpPr>
            <a:spLocks noChangeArrowheads="1"/>
          </p:cNvSpPr>
          <p:nvPr/>
        </p:nvSpPr>
        <p:spPr bwMode="auto">
          <a:xfrm>
            <a:off x="1835150" y="4060825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01" name="AutoShape 20"/>
          <p:cNvSpPr>
            <a:spLocks noChangeArrowheads="1"/>
          </p:cNvSpPr>
          <p:nvPr/>
        </p:nvSpPr>
        <p:spPr bwMode="auto">
          <a:xfrm>
            <a:off x="971600" y="4564236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02" name="AutoShape 20"/>
          <p:cNvSpPr>
            <a:spLocks noChangeArrowheads="1"/>
          </p:cNvSpPr>
          <p:nvPr/>
        </p:nvSpPr>
        <p:spPr bwMode="auto">
          <a:xfrm>
            <a:off x="755576" y="4636244"/>
            <a:ext cx="82550" cy="88900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000000"/>
              </a:solidFill>
              <a:latin typeface="Impact" pitchFamily="34" charset="0"/>
              <a:cs typeface="Arial" charset="0"/>
            </a:endParaRPr>
          </a:p>
        </p:txBody>
      </p:sp>
      <p:sp>
        <p:nvSpPr>
          <p:cNvPr id="103" name="Скругленный прямоугольник 102"/>
          <p:cNvSpPr>
            <a:spLocks/>
          </p:cNvSpPr>
          <p:nvPr/>
        </p:nvSpPr>
        <p:spPr>
          <a:xfrm>
            <a:off x="1396529" y="4822787"/>
            <a:ext cx="511175" cy="161925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Uzen</a:t>
            </a:r>
            <a:endParaRPr lang="ru-RU" sz="11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104" name="Скругленный прямоугольник 103"/>
          <p:cNvSpPr>
            <a:spLocks/>
          </p:cNvSpPr>
          <p:nvPr/>
        </p:nvSpPr>
        <p:spPr>
          <a:xfrm>
            <a:off x="388417" y="4725144"/>
            <a:ext cx="511175" cy="161925"/>
          </a:xfrm>
          <a:prstGeom prst="roundRect">
            <a:avLst/>
          </a:prstGeom>
          <a:noFill/>
          <a:ln w="3175" cap="flat" cmpd="sng" algn="ctr">
            <a:noFill/>
            <a:prstDash val="soli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7703" tIns="37703" rIns="37703" bIns="3770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Kuryk</a:t>
            </a:r>
            <a:endParaRPr lang="ru-RU" sz="1100" kern="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110" name="AutoShape 20"/>
          <p:cNvSpPr>
            <a:spLocks noChangeArrowheads="1"/>
          </p:cNvSpPr>
          <p:nvPr/>
        </p:nvSpPr>
        <p:spPr bwMode="auto">
          <a:xfrm>
            <a:off x="6084168" y="3717032"/>
            <a:ext cx="98425" cy="87312"/>
          </a:xfrm>
          <a:prstGeom prst="flowChartConnector">
            <a:avLst/>
          </a:prstGeom>
          <a:solidFill>
            <a:schemeClr val="bg1"/>
          </a:solidFill>
          <a:ln w="19050">
            <a:solidFill>
              <a:srgbClr val="0070C0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95767" tIns="47883" rIns="95767" bIns="4788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Text" lastClr="000000"/>
              </a:solidFill>
              <a:latin typeface="Impact" pitchFamily="34" charset="0"/>
            </a:endParaRPr>
          </a:p>
        </p:txBody>
      </p:sp>
      <p:sp>
        <p:nvSpPr>
          <p:cNvPr id="111" name="Скругленный прямоугольник 139"/>
          <p:cNvSpPr>
            <a:spLocks/>
          </p:cNvSpPr>
          <p:nvPr/>
        </p:nvSpPr>
        <p:spPr bwMode="auto">
          <a:xfrm>
            <a:off x="6055704" y="3576879"/>
            <a:ext cx="792088" cy="161925"/>
          </a:xfrm>
          <a:prstGeom prst="roundRect">
            <a:avLst>
              <a:gd name="adj" fmla="val 16667"/>
            </a:avLst>
          </a:prstGeom>
          <a:noFill/>
          <a:ln w="3175" algn="ctr">
            <a:noFill/>
            <a:round/>
            <a:headEnd/>
            <a:tailEnd/>
          </a:ln>
        </p:spPr>
        <p:txBody>
          <a:bodyPr lIns="37703" tIns="37703" rIns="37703" bIns="37703" anchor="ctr"/>
          <a:lstStyle/>
          <a:p>
            <a:pPr algn="ctr"/>
            <a:r>
              <a:rPr lang="en-US" sz="1000" dirty="0" err="1" smtClean="0">
                <a:solidFill>
                  <a:srgbClr val="002060"/>
                </a:solidFill>
                <a:latin typeface="Impact" pitchFamily="34" charset="0"/>
                <a:cs typeface="Arial" pitchFamily="34" charset="0"/>
              </a:rPr>
              <a:t>Moiynty</a:t>
            </a:r>
            <a:endParaRPr lang="ru-RU" sz="1100" dirty="0">
              <a:solidFill>
                <a:srgbClr val="002060"/>
              </a:solidFill>
              <a:latin typeface="Impact" pitchFamily="34" charset="0"/>
              <a:cs typeface="Arial" pitchFamily="34" charset="0"/>
            </a:endParaRPr>
          </a:p>
        </p:txBody>
      </p:sp>
      <p:sp>
        <p:nvSpPr>
          <p:cNvPr id="131" name="Пятиугольник 130"/>
          <p:cNvSpPr/>
          <p:nvPr/>
        </p:nvSpPr>
        <p:spPr>
          <a:xfrm>
            <a:off x="0" y="44624"/>
            <a:ext cx="3995936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latin typeface="Impact" pitchFamily="34" charset="0"/>
              </a:rPr>
              <a:t>Railway transport</a:t>
            </a:r>
            <a:endParaRPr lang="ru-RU" sz="2000" dirty="0">
              <a:latin typeface="Impact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707904" y="5972584"/>
            <a:ext cx="2158772" cy="600164"/>
            <a:chOff x="6943952" y="10887"/>
            <a:chExt cx="2158772" cy="600164"/>
          </a:xfrm>
        </p:grpSpPr>
        <p:cxnSp>
          <p:nvCxnSpPr>
            <p:cNvPr id="133" name="Прямая соединительная линия 132"/>
            <p:cNvCxnSpPr/>
            <p:nvPr/>
          </p:nvCxnSpPr>
          <p:spPr>
            <a:xfrm>
              <a:off x="6943952" y="138404"/>
              <a:ext cx="792088" cy="0"/>
            </a:xfrm>
            <a:prstGeom prst="line">
              <a:avLst/>
            </a:prstGeom>
            <a:ln w="38100">
              <a:solidFill>
                <a:srgbClr val="33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Прямая соединительная линия 133"/>
            <p:cNvCxnSpPr/>
            <p:nvPr/>
          </p:nvCxnSpPr>
          <p:spPr>
            <a:xfrm>
              <a:off x="6952458" y="315078"/>
              <a:ext cx="792088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Прямая соединительная линия 134"/>
            <p:cNvCxnSpPr/>
            <p:nvPr/>
          </p:nvCxnSpPr>
          <p:spPr>
            <a:xfrm>
              <a:off x="6948264" y="494250"/>
              <a:ext cx="792088" cy="0"/>
            </a:xfrm>
            <a:prstGeom prst="line">
              <a:avLst/>
            </a:prstGeom>
            <a:ln w="38100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6" name="TextBox 135"/>
            <p:cNvSpPr txBox="1"/>
            <p:nvPr/>
          </p:nvSpPr>
          <p:spPr>
            <a:xfrm>
              <a:off x="7740351" y="10887"/>
              <a:ext cx="1362373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smtClean="0">
                  <a:latin typeface="Impact" pitchFamily="34" charset="0"/>
                </a:rPr>
                <a:t>existing</a:t>
              </a:r>
              <a:endParaRPr lang="ru-RU" sz="1100" dirty="0" smtClean="0">
                <a:latin typeface="Impact" pitchFamily="34" charset="0"/>
              </a:endParaRPr>
            </a:p>
            <a:p>
              <a:r>
                <a:rPr lang="en-US" sz="1100" dirty="0" smtClean="0">
                  <a:latin typeface="Impact" pitchFamily="34" charset="0"/>
                </a:rPr>
                <a:t>realizing</a:t>
              </a:r>
              <a:endParaRPr lang="ru-RU" sz="1100" dirty="0" smtClean="0">
                <a:latin typeface="Impact" pitchFamily="34" charset="0"/>
              </a:endParaRPr>
            </a:p>
            <a:p>
              <a:r>
                <a:rPr lang="en-US" sz="1100" dirty="0" smtClean="0">
                  <a:latin typeface="Impact" pitchFamily="34" charset="0"/>
                </a:rPr>
                <a:t>realized projects</a:t>
              </a:r>
              <a:endParaRPr lang="ru-RU" sz="1100" dirty="0" smtClean="0">
                <a:latin typeface="Impact" pitchFamily="34" charset="0"/>
              </a:endParaRPr>
            </a:p>
          </p:txBody>
        </p:sp>
      </p:grpSp>
      <p:sp>
        <p:nvSpPr>
          <p:cNvPr id="46" name="Прямоугольник 45"/>
          <p:cNvSpPr/>
          <p:nvPr/>
        </p:nvSpPr>
        <p:spPr>
          <a:xfrm>
            <a:off x="80074" y="540858"/>
            <a:ext cx="2439698" cy="18466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ZHEZKAZGAN </a:t>
            </a:r>
            <a:r>
              <a:rPr lang="ru-RU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– </a:t>
            </a:r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BEINEU</a:t>
            </a:r>
            <a:endParaRPr lang="ru-RU" sz="1200" dirty="0">
              <a:solidFill>
                <a:schemeClr val="bg1"/>
              </a:solidFill>
              <a:latin typeface="Impact" panose="020B0806030902050204" pitchFamily="34" charset="0"/>
              <a:cs typeface="Arial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2555776" y="539910"/>
            <a:ext cx="2404364" cy="18466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ARKALYK </a:t>
            </a:r>
            <a:r>
              <a:rPr lang="ru-RU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– </a:t>
            </a:r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SHUBARKOL’</a:t>
            </a:r>
            <a:endParaRPr lang="ru-RU" sz="1200" dirty="0">
              <a:solidFill>
                <a:schemeClr val="bg1"/>
              </a:solidFill>
              <a:latin typeface="Impact" panose="020B0806030902050204" pitchFamily="34" charset="0"/>
              <a:cs typeface="Arial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403648" y="5484172"/>
            <a:ext cx="1944216" cy="21301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UZEN’ </a:t>
            </a:r>
            <a:r>
              <a:rPr lang="ru-RU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– </a:t>
            </a:r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BOLASHAK</a:t>
            </a:r>
            <a:endParaRPr lang="ru-RU" sz="1200" dirty="0">
              <a:solidFill>
                <a:schemeClr val="bg1"/>
              </a:solidFill>
              <a:latin typeface="Impact" panose="020B0806030902050204" pitchFamily="34" charset="0"/>
              <a:cs typeface="Arial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372200" y="5490522"/>
            <a:ext cx="1944216" cy="21301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ZHETYGEN</a:t>
            </a:r>
            <a:r>
              <a:rPr lang="ru-RU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– </a:t>
            </a:r>
            <a:r>
              <a:rPr lang="en-US" sz="1200" dirty="0" smtClean="0">
                <a:solidFill>
                  <a:schemeClr val="bg1"/>
                </a:solidFill>
                <a:latin typeface="Impact" panose="020B0806030902050204" pitchFamily="34" charset="0"/>
                <a:cs typeface="Arial" pitchFamily="34" charset="0"/>
              </a:rPr>
              <a:t>KORGAS</a:t>
            </a:r>
            <a:endParaRPr lang="ru-RU" sz="1200" dirty="0">
              <a:solidFill>
                <a:schemeClr val="bg1"/>
              </a:solidFill>
              <a:latin typeface="Impact" panose="020B0806030902050204" pitchFamily="34" charset="0"/>
              <a:cs typeface="Arial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5770736" y="582588"/>
            <a:ext cx="324036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5,6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thousand km of railways will be modernized till </a:t>
            </a:r>
            <a:r>
              <a:rPr lang="ru-RU" sz="1400" dirty="0" smtClean="0">
                <a:solidFill>
                  <a:srgbClr val="C00000"/>
                </a:solidFill>
                <a:latin typeface="Impact" pitchFamily="34" charset="0"/>
                <a:cs typeface="Arial" charset="0"/>
              </a:rPr>
              <a:t>2020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charset="0"/>
            </a:endParaRPr>
          </a:p>
        </p:txBody>
      </p:sp>
      <p:pic>
        <p:nvPicPr>
          <p:cNvPr id="109" name="Picture 20" descr="C:\Documents and Settings\Admin\Мои документы\For prezentations\arrows\tick_6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7984" y="665400"/>
            <a:ext cx="28416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" name="Овал 111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6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688" y="69850"/>
            <a:ext cx="5457825" cy="338138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cs typeface="Arial" pitchFamily="34" charset="0"/>
              </a:rPr>
              <a:t>MECHANICAL ENGINEERING PROJECTS IN RAILWAY SECTOR</a:t>
            </a:r>
          </a:p>
        </p:txBody>
      </p:sp>
      <p:pic>
        <p:nvPicPr>
          <p:cNvPr id="24579" name="Picture 2" descr="Основа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6000"/>
          </a:blip>
          <a:srcRect/>
          <a:stretch>
            <a:fillRect/>
          </a:stretch>
        </p:blipFill>
        <p:spPr bwMode="auto">
          <a:xfrm>
            <a:off x="357188" y="1695450"/>
            <a:ext cx="7586662" cy="465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30"/>
          <p:cNvSpPr>
            <a:spLocks noChangeShapeType="1"/>
          </p:cNvSpPr>
          <p:nvPr/>
        </p:nvSpPr>
        <p:spPr bwMode="auto">
          <a:xfrm>
            <a:off x="3712096" y="2204864"/>
            <a:ext cx="1223442" cy="1079674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  <p:txBody>
          <a:bodyPr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Rectangle 59"/>
          <p:cNvSpPr>
            <a:spLocks noChangeArrowheads="1"/>
          </p:cNvSpPr>
          <p:nvPr/>
        </p:nvSpPr>
        <p:spPr bwMode="auto">
          <a:xfrm>
            <a:off x="4542284" y="542925"/>
            <a:ext cx="2087562" cy="1649239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24582" name="Rectangle 60"/>
          <p:cNvSpPr>
            <a:spLocks noChangeArrowheads="1"/>
          </p:cNvSpPr>
          <p:nvPr/>
        </p:nvSpPr>
        <p:spPr bwMode="auto">
          <a:xfrm>
            <a:off x="4542284" y="542925"/>
            <a:ext cx="2087562" cy="287338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smtClean="0">
                <a:latin typeface="Calibri" pitchFamily="34" charset="0"/>
              </a:rPr>
              <a:t>Freight cars production plant in Petropavlovsk</a:t>
            </a:r>
            <a:endParaRPr lang="ru-RU" sz="900" b="1" dirty="0">
              <a:latin typeface="Calibri" pitchFamily="34" charset="0"/>
            </a:endParaRPr>
          </a:p>
        </p:txBody>
      </p:sp>
      <p:sp>
        <p:nvSpPr>
          <p:cNvPr id="24583" name="AutoShape 61"/>
          <p:cNvSpPr>
            <a:spLocks noChangeArrowheads="1"/>
          </p:cNvSpPr>
          <p:nvPr/>
        </p:nvSpPr>
        <p:spPr bwMode="auto">
          <a:xfrm>
            <a:off x="4542284" y="1420534"/>
            <a:ext cx="2087562" cy="792162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none" lIns="18000" tIns="10800" rIns="18000" bIns="10800" anchor="ctr"/>
          <a:lstStyle/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aunc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009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,5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ocalization level b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2016 – 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40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n-US" sz="9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sign capacit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9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0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was produced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 total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401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4584" name="Picture 62" descr="DSC_0328"/>
          <p:cNvPicPr preferRelativeResize="0"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47109" y="881063"/>
            <a:ext cx="1150937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4913313" y="3344863"/>
            <a:ext cx="122237" cy="122237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5853124" y="2990676"/>
            <a:ext cx="935037" cy="207962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rPr>
              <a:t>Ekibastuz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auto">
          <a:xfrm>
            <a:off x="5765800" y="3213100"/>
            <a:ext cx="92075" cy="90488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auto">
          <a:xfrm>
            <a:off x="4542284" y="2492896"/>
            <a:ext cx="1193800" cy="268288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rPr>
              <a:t>Petropavlovsk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4" name="AutoShape 10"/>
          <p:cNvSpPr>
            <a:spLocks noChangeArrowheads="1"/>
          </p:cNvSpPr>
          <p:nvPr/>
        </p:nvSpPr>
        <p:spPr bwMode="auto">
          <a:xfrm>
            <a:off x="4243016" y="2565400"/>
            <a:ext cx="92075" cy="90488"/>
          </a:xfrm>
          <a:prstGeom prst="flowChartConnector">
            <a:avLst/>
          </a:prstGeom>
          <a:solidFill>
            <a:srgbClr val="FFFFFF"/>
          </a:solidFill>
          <a:ln w="19050" algn="ctr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15" name="Line 17"/>
          <p:cNvSpPr>
            <a:spLocks noChangeShapeType="1"/>
          </p:cNvSpPr>
          <p:nvPr/>
        </p:nvSpPr>
        <p:spPr bwMode="auto">
          <a:xfrm flipH="1">
            <a:off x="5046340" y="2204864"/>
            <a:ext cx="1800200" cy="1152128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  <p:txBody>
          <a:bodyPr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Line 28"/>
          <p:cNvSpPr>
            <a:spLocks noChangeShapeType="1"/>
          </p:cNvSpPr>
          <p:nvPr/>
        </p:nvSpPr>
        <p:spPr bwMode="auto">
          <a:xfrm flipH="1" flipV="1">
            <a:off x="5910263" y="3284538"/>
            <a:ext cx="1512887" cy="576262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  <p:txBody>
          <a:bodyPr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Line 29"/>
          <p:cNvSpPr>
            <a:spLocks noChangeShapeType="1"/>
          </p:cNvSpPr>
          <p:nvPr/>
        </p:nvSpPr>
        <p:spPr bwMode="auto">
          <a:xfrm>
            <a:off x="2195736" y="2204864"/>
            <a:ext cx="2642964" cy="1133649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  <p:txBody>
          <a:bodyPr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Rectangle 50"/>
          <p:cNvSpPr>
            <a:spLocks noChangeArrowheads="1"/>
          </p:cNvSpPr>
          <p:nvPr/>
        </p:nvSpPr>
        <p:spPr bwMode="auto">
          <a:xfrm>
            <a:off x="2287811" y="549275"/>
            <a:ext cx="2087563" cy="1655589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24594" name="AutoShape 54"/>
          <p:cNvSpPr>
            <a:spLocks noChangeArrowheads="1"/>
          </p:cNvSpPr>
          <p:nvPr/>
        </p:nvSpPr>
        <p:spPr bwMode="auto">
          <a:xfrm>
            <a:off x="2287811" y="1392138"/>
            <a:ext cx="2089150" cy="8636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none" lIns="18000" tIns="10800" rIns="18000" bIns="10800" anchor="ctr"/>
          <a:lstStyle/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aunc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cember,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012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8,2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ocalization level b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2016 – 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0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%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design capacit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0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section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was produced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 total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16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4595" name="Picture 6" descr="Alstom_loco_07 "/>
          <p:cNvPicPr>
            <a:picLocks noChangeArrowheads="1"/>
          </p:cNvPicPr>
          <p:nvPr/>
        </p:nvPicPr>
        <p:blipFill>
          <a:blip r:embed="rId4" cstate="print"/>
          <a:srcRect l="11087" t="28801" r="4242" b="10384"/>
          <a:stretch>
            <a:fillRect/>
          </a:stretch>
        </p:blipFill>
        <p:spPr bwMode="auto">
          <a:xfrm>
            <a:off x="2719611" y="850261"/>
            <a:ext cx="1214438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18"/>
          <p:cNvSpPr>
            <a:spLocks noChangeArrowheads="1"/>
          </p:cNvSpPr>
          <p:nvPr/>
        </p:nvSpPr>
        <p:spPr bwMode="auto">
          <a:xfrm>
            <a:off x="6820222" y="548681"/>
            <a:ext cx="2089150" cy="1656110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24597" name="Rectangle 19"/>
          <p:cNvSpPr>
            <a:spLocks noChangeArrowheads="1"/>
          </p:cNvSpPr>
          <p:nvPr/>
        </p:nvSpPr>
        <p:spPr bwMode="auto">
          <a:xfrm>
            <a:off x="6820222" y="553732"/>
            <a:ext cx="2089150" cy="288925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err="1" smtClean="0">
                <a:latin typeface="Calibri" pitchFamily="34" charset="0"/>
                <a:cs typeface="Arial" pitchFamily="34" charset="0"/>
              </a:rPr>
              <a:t>Talgo</a:t>
            </a:r>
            <a:r>
              <a:rPr lang="en-US" sz="900" b="1" dirty="0" smtClean="0">
                <a:latin typeface="Calibri" pitchFamily="34" charset="0"/>
                <a:cs typeface="Arial" pitchFamily="34" charset="0"/>
              </a:rPr>
              <a:t> Passenger cars production plant</a:t>
            </a:r>
            <a:endParaRPr lang="ru-RU" sz="900" b="1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24598" name="AutoShape 22"/>
          <p:cNvSpPr>
            <a:spLocks noChangeArrowheads="1"/>
          </p:cNvSpPr>
          <p:nvPr/>
        </p:nvSpPr>
        <p:spPr bwMode="auto">
          <a:xfrm>
            <a:off x="6810697" y="1412702"/>
            <a:ext cx="2124075" cy="792162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none" lIns="18000" tIns="10800" rIns="18000" bIns="10800" anchor="ctr"/>
          <a:lstStyle/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aunc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cember,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011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9,8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localization level b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2016 – 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8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n-US" sz="9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sign capacit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was produced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 total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12 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4599" name="Picture 48"/>
          <p:cNvPicPr>
            <a:picLocks noChangeAspect="1" noChangeArrowheads="1"/>
          </p:cNvPicPr>
          <p:nvPr/>
        </p:nvPicPr>
        <p:blipFill>
          <a:blip r:embed="rId5" cstate="print"/>
          <a:srcRect l="9062" t="2130" r="38959" b="57964"/>
          <a:stretch>
            <a:fillRect/>
          </a:stretch>
        </p:blipFill>
        <p:spPr bwMode="auto">
          <a:xfrm>
            <a:off x="7328222" y="1003475"/>
            <a:ext cx="10795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6837184" y="2348880"/>
            <a:ext cx="2087563" cy="1800448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24601" name="Rectangle 24"/>
          <p:cNvSpPr>
            <a:spLocks noChangeArrowheads="1"/>
          </p:cNvSpPr>
          <p:nvPr/>
        </p:nvSpPr>
        <p:spPr bwMode="auto">
          <a:xfrm>
            <a:off x="6837853" y="2359993"/>
            <a:ext cx="2087563" cy="267047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smtClean="0">
                <a:latin typeface="Calibri" pitchFamily="34" charset="0"/>
              </a:rPr>
              <a:t>Freight cars production plant in </a:t>
            </a:r>
            <a:r>
              <a:rPr lang="en-US" sz="900" b="1" dirty="0" err="1" smtClean="0">
                <a:latin typeface="Calibri" pitchFamily="34" charset="0"/>
              </a:rPr>
              <a:t>Ekibastuz</a:t>
            </a:r>
            <a:endParaRPr lang="ru-RU" sz="900" b="1" dirty="0">
              <a:latin typeface="Calibri" pitchFamily="34" charset="0"/>
            </a:endParaRPr>
          </a:p>
        </p:txBody>
      </p:sp>
      <p:sp>
        <p:nvSpPr>
          <p:cNvPr id="24602" name="AutoShape 25"/>
          <p:cNvSpPr>
            <a:spLocks noChangeArrowheads="1"/>
          </p:cNvSpPr>
          <p:nvPr/>
        </p:nvSpPr>
        <p:spPr bwMode="auto">
          <a:xfrm>
            <a:off x="6836266" y="3336602"/>
            <a:ext cx="2089150" cy="85725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none" lIns="18000" tIns="10800" rIns="18000" bIns="10800" anchor="ctr"/>
          <a:lstStyle/>
          <a:p>
            <a:pPr>
              <a:buFont typeface="Wingdings" pitchFamily="2" charset="2"/>
              <a:buChar char="þ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aunc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011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7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,2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 </a:t>
            </a:r>
          </a:p>
          <a:p>
            <a:pPr>
              <a:buFont typeface="Wingdings" pitchFamily="2" charset="2"/>
              <a:buChar char="þ"/>
            </a:pP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ocalization level b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2016 – 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4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%</a:t>
            </a:r>
            <a:endParaRPr lang="en-US" sz="9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sign capacit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500 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was produced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 total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3488 units</a:t>
            </a:r>
            <a:endParaRPr lang="ru-RU" sz="9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4603" name="Picture 27" descr="IMG_0959"/>
          <p:cNvPicPr preferRelativeResize="0">
            <a:picLocks noChangeArrowheads="1"/>
          </p:cNvPicPr>
          <p:nvPr/>
        </p:nvPicPr>
        <p:blipFill>
          <a:blip r:embed="rId6" cstate="print">
            <a:lum bright="-12000"/>
          </a:blip>
          <a:srcRect/>
          <a:stretch>
            <a:fillRect/>
          </a:stretch>
        </p:blipFill>
        <p:spPr bwMode="auto">
          <a:xfrm>
            <a:off x="7342678" y="2780681"/>
            <a:ext cx="1074738" cy="504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tangle 18"/>
          <p:cNvSpPr>
            <a:spLocks noChangeArrowheads="1"/>
          </p:cNvSpPr>
          <p:nvPr/>
        </p:nvSpPr>
        <p:spPr bwMode="auto">
          <a:xfrm>
            <a:off x="61541" y="550863"/>
            <a:ext cx="2089150" cy="1654001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24605" name="Rectangle 19"/>
          <p:cNvSpPr>
            <a:spLocks noChangeArrowheads="1"/>
          </p:cNvSpPr>
          <p:nvPr/>
        </p:nvSpPr>
        <p:spPr bwMode="auto">
          <a:xfrm>
            <a:off x="61541" y="549275"/>
            <a:ext cx="2089150" cy="280988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smtClean="0">
                <a:latin typeface="Calibri" pitchFamily="34" charset="0"/>
                <a:cs typeface="Arial" pitchFamily="34" charset="0"/>
              </a:rPr>
              <a:t>Locomotive assembly plant</a:t>
            </a:r>
            <a:endParaRPr lang="ru-RU" sz="900" b="1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24606" name="AutoShape 22"/>
          <p:cNvSpPr>
            <a:spLocks noChangeArrowheads="1"/>
          </p:cNvSpPr>
          <p:nvPr/>
        </p:nvSpPr>
        <p:spPr bwMode="auto">
          <a:xfrm>
            <a:off x="61541" y="1533525"/>
            <a:ext cx="2089150" cy="720725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wrap="none" lIns="18000" tIns="10800" rIns="18000" bIns="10800" anchor="ctr"/>
          <a:lstStyle/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launch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July,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009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6,6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localization level b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2016 </a:t>
            </a: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2%</a:t>
            </a: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</a:p>
          <a:p>
            <a:pPr>
              <a:buFont typeface="Wingdings" pitchFamily="2" charset="2"/>
              <a:buChar char="þ"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design capacity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0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þ"/>
            </a:pP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was produced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 total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–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58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units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endParaRPr lang="ru-RU" sz="9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4607" name="Picture 4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3341" y="904853"/>
            <a:ext cx="1223962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608" name="Rectangle 51"/>
          <p:cNvSpPr>
            <a:spLocks noChangeArrowheads="1"/>
          </p:cNvSpPr>
          <p:nvPr/>
        </p:nvSpPr>
        <p:spPr bwMode="auto">
          <a:xfrm>
            <a:off x="2271936" y="549275"/>
            <a:ext cx="2103438" cy="280988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smtClean="0">
                <a:latin typeface="Calibri" pitchFamily="34" charset="0"/>
                <a:cs typeface="Arial" pitchFamily="34" charset="0"/>
              </a:rPr>
              <a:t>Electric locomotives production plant</a:t>
            </a:r>
            <a:endParaRPr lang="ru-RU" sz="900" b="1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41" name="Rectangle 18"/>
          <p:cNvSpPr>
            <a:spLocks noChangeArrowheads="1"/>
          </p:cNvSpPr>
          <p:nvPr/>
        </p:nvSpPr>
        <p:spPr bwMode="auto">
          <a:xfrm>
            <a:off x="69404" y="2348533"/>
            <a:ext cx="2089150" cy="1800547"/>
          </a:xfrm>
          <a:prstGeom prst="rect">
            <a:avLst/>
          </a:prstGeom>
          <a:solidFill>
            <a:srgbClr val="FFFFFF"/>
          </a:solidFill>
          <a:ln w="6350">
            <a:noFill/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endParaRPr lang="ru-RU" sz="8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nvestments volume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49,4 </a:t>
            </a:r>
            <a:r>
              <a:rPr lang="en-US" sz="900" b="1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ln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.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KZT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buFont typeface="Wingdings" pitchFamily="2" charset="2"/>
              <a:buChar char="þ"/>
              <a:defRPr/>
            </a:pP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sign capacity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–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43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housand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ons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/>
            </a:r>
            <a:b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</a:b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(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20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housand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ons - rails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, </a:t>
            </a:r>
            <a:r>
              <a:rPr lang="ru-RU" sz="900" b="1" dirty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230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housand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US" sz="900" b="1" dirty="0" smtClean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  <a:p>
            <a:pPr algn="just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tons – sort hire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)</a:t>
            </a:r>
          </a:p>
          <a:p>
            <a:pPr algn="just">
              <a:buFont typeface="Wingdings" pitchFamily="2" charset="2"/>
              <a:buChar char="þ"/>
              <a:defRPr/>
            </a:pP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 </a:t>
            </a:r>
            <a:r>
              <a:rPr lang="en-US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realization term </a:t>
            </a:r>
            <a:r>
              <a:rPr lang="ru-RU" sz="9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–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IV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r>
              <a:rPr lang="en-US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quarter, </a:t>
            </a:r>
            <a:r>
              <a:rPr lang="ru-RU" sz="900" b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2014</a:t>
            </a:r>
            <a:endParaRPr lang="ru-RU" sz="9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4610" name="Rectangle 19"/>
          <p:cNvSpPr>
            <a:spLocks noChangeArrowheads="1"/>
          </p:cNvSpPr>
          <p:nvPr/>
        </p:nvSpPr>
        <p:spPr bwMode="auto">
          <a:xfrm>
            <a:off x="95027" y="2348533"/>
            <a:ext cx="2089150" cy="276225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54000" tIns="10800" rIns="54000" bIns="10800" anchor="ctr"/>
          <a:lstStyle/>
          <a:p>
            <a:pPr algn="ctr"/>
            <a:r>
              <a:rPr lang="en-US" sz="900" b="1" dirty="0" smtClean="0">
                <a:latin typeface="Calibri" pitchFamily="34" charset="0"/>
                <a:cs typeface="Arial" pitchFamily="34" charset="0"/>
              </a:rPr>
              <a:t>Rails production plant in </a:t>
            </a:r>
            <a:r>
              <a:rPr lang="en-US" sz="900" b="1" dirty="0" err="1" smtClean="0">
                <a:latin typeface="Calibri" pitchFamily="34" charset="0"/>
                <a:cs typeface="Arial" pitchFamily="34" charset="0"/>
              </a:rPr>
              <a:t>Aktobe</a:t>
            </a:r>
            <a:endParaRPr lang="ru-RU" sz="900" b="1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43" name="AutoShape 6"/>
          <p:cNvSpPr>
            <a:spLocks noChangeArrowheads="1"/>
          </p:cNvSpPr>
          <p:nvPr/>
        </p:nvSpPr>
        <p:spPr bwMode="auto">
          <a:xfrm>
            <a:off x="2593975" y="3335338"/>
            <a:ext cx="122238" cy="122237"/>
          </a:xfrm>
          <a:prstGeom prst="flowChartConnector">
            <a:avLst/>
          </a:prstGeom>
          <a:solidFill>
            <a:srgbClr val="FFFFFF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</a:endParaRPr>
          </a:p>
        </p:txBody>
      </p:sp>
      <p:sp>
        <p:nvSpPr>
          <p:cNvPr id="44" name="AutoShape 5"/>
          <p:cNvSpPr>
            <a:spLocks noChangeArrowheads="1"/>
          </p:cNvSpPr>
          <p:nvPr/>
        </p:nvSpPr>
        <p:spPr bwMode="auto">
          <a:xfrm>
            <a:off x="2313487" y="3509962"/>
            <a:ext cx="706438" cy="214313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rPr>
              <a:t>Aktobe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</a:endParaRPr>
          </a:p>
        </p:txBody>
      </p:sp>
      <p:pic>
        <p:nvPicPr>
          <p:cNvPr id="24613" name="Picture 2" descr="C:\Documents and Settings\tauekelov_r\Рабочий стол\РБЗ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3904" y="2702545"/>
            <a:ext cx="12255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6" name="Прямая со стрелкой 45"/>
          <p:cNvCxnSpPr>
            <a:endCxn id="43" idx="3"/>
          </p:cNvCxnSpPr>
          <p:nvPr/>
        </p:nvCxnSpPr>
        <p:spPr>
          <a:xfrm>
            <a:off x="2184177" y="3213100"/>
            <a:ext cx="427699" cy="226574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Line 30"/>
          <p:cNvSpPr>
            <a:spLocks noChangeShapeType="1"/>
          </p:cNvSpPr>
          <p:nvPr/>
        </p:nvSpPr>
        <p:spPr bwMode="auto">
          <a:xfrm flipH="1">
            <a:off x="4375371" y="2212696"/>
            <a:ext cx="560166" cy="352704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  <p:txBody>
          <a:bodyPr/>
          <a:lstStyle/>
          <a:p>
            <a:pPr>
              <a:defRPr/>
            </a:pPr>
            <a:endParaRPr lang="ru-RU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8" name="AutoShape 5"/>
          <p:cNvSpPr>
            <a:spLocks noChangeArrowheads="1"/>
          </p:cNvSpPr>
          <p:nvPr/>
        </p:nvSpPr>
        <p:spPr bwMode="auto">
          <a:xfrm>
            <a:off x="4660899" y="3509963"/>
            <a:ext cx="627063" cy="214313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Impact" panose="020B0806030902050204" pitchFamily="34" charset="0"/>
              </a:rPr>
              <a:t>Astana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Impact" panose="020B080603090205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-98640" y="4320392"/>
            <a:ext cx="4829899" cy="2366384"/>
            <a:chOff x="2065368" y="4316624"/>
            <a:chExt cx="4829899" cy="2366384"/>
          </a:xfrm>
        </p:grpSpPr>
        <p:sp>
          <p:nvSpPr>
            <p:cNvPr id="65" name="Прямоугольник 64"/>
            <p:cNvSpPr/>
            <p:nvPr/>
          </p:nvSpPr>
          <p:spPr bwMode="auto">
            <a:xfrm>
              <a:off x="2425408" y="4316624"/>
              <a:ext cx="3893405" cy="2366384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19050">
              <a:noFill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just" eaLnBrk="0" hangingPunct="0"/>
              <a:endParaRPr lang="ru-RU" sz="1600" dirty="0" smtClean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365872" y="4324666"/>
              <a:ext cx="194421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u="sng" dirty="0" smtClean="0">
                  <a:solidFill>
                    <a:srgbClr val="FF0000"/>
                  </a:solidFill>
                </a:rPr>
                <a:t>2008 – 2013</a:t>
              </a:r>
              <a:endParaRPr lang="ru-RU" sz="1100" b="1" u="sng" dirty="0">
                <a:solidFill>
                  <a:srgbClr val="FF0000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706642" y="4327004"/>
              <a:ext cx="194421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u="sng" dirty="0" smtClean="0">
                  <a:solidFill>
                    <a:srgbClr val="FF0000"/>
                  </a:solidFill>
                </a:rPr>
                <a:t>2013 – 2020</a:t>
              </a:r>
              <a:endParaRPr lang="ru-RU" sz="1100" b="1" u="sng" dirty="0">
                <a:solidFill>
                  <a:srgbClr val="FF0000"/>
                </a:solidFill>
              </a:endParaRPr>
            </a:p>
          </p:txBody>
        </p:sp>
        <p:sp>
          <p:nvSpPr>
            <p:cNvPr id="54" name="AutoShape 451"/>
            <p:cNvSpPr>
              <a:spLocks noChangeArrowheads="1"/>
            </p:cNvSpPr>
            <p:nvPr/>
          </p:nvSpPr>
          <p:spPr bwMode="auto">
            <a:xfrm>
              <a:off x="3285316" y="4606898"/>
              <a:ext cx="2148951" cy="542068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Purchased</a:t>
              </a:r>
              <a:endParaRPr lang="ru-RU" sz="1100" dirty="0" smtClean="0">
                <a:solidFill>
                  <a:schemeClr val="tx2"/>
                </a:solidFill>
                <a:latin typeface="+mj-lt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913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200" b="1" dirty="0" smtClean="0">
                <a:solidFill>
                  <a:schemeClr val="tx2"/>
                </a:solidFill>
                <a:cs typeface="Arial" pitchFamily="34" charset="0"/>
              </a:endParaRPr>
            </a:p>
          </p:txBody>
        </p:sp>
        <p:sp>
          <p:nvSpPr>
            <p:cNvPr id="55" name="AutoShape 451"/>
            <p:cNvSpPr>
              <a:spLocks noChangeArrowheads="1"/>
            </p:cNvSpPr>
            <p:nvPr/>
          </p:nvSpPr>
          <p:spPr bwMode="auto">
            <a:xfrm>
              <a:off x="4490618" y="4626883"/>
              <a:ext cx="2331108" cy="522708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Will be purchased</a:t>
              </a:r>
              <a:endParaRPr lang="ru-RU" sz="1000" dirty="0" smtClean="0">
                <a:solidFill>
                  <a:schemeClr val="tx2"/>
                </a:solidFill>
                <a:cs typeface="Arial" pitchFamily="34" charset="0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632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200" b="1" dirty="0" smtClean="0">
                <a:solidFill>
                  <a:schemeClr val="tx2"/>
                </a:solidFill>
                <a:cs typeface="Arial" pitchFamily="34" charset="0"/>
              </a:endParaRPr>
            </a:p>
          </p:txBody>
        </p:sp>
        <p:sp>
          <p:nvSpPr>
            <p:cNvPr id="58" name="AutoShape 451"/>
            <p:cNvSpPr>
              <a:spLocks noChangeArrowheads="1"/>
            </p:cNvSpPr>
            <p:nvPr/>
          </p:nvSpPr>
          <p:spPr bwMode="auto">
            <a:xfrm>
              <a:off x="3224597" y="5245197"/>
              <a:ext cx="2301515" cy="755023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Purchased</a:t>
              </a:r>
              <a:endParaRPr lang="ru-RU" sz="1100" dirty="0" smtClean="0">
                <a:solidFill>
                  <a:schemeClr val="tx2"/>
                </a:solidFill>
                <a:latin typeface="+mj-lt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35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thousand </a:t>
              </a: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200" b="1" dirty="0" smtClean="0">
                <a:solidFill>
                  <a:schemeClr val="tx2"/>
                </a:solidFill>
                <a:cs typeface="Arial" pitchFamily="34" charset="0"/>
              </a:endParaRPr>
            </a:p>
          </p:txBody>
        </p:sp>
        <p:sp>
          <p:nvSpPr>
            <p:cNvPr id="59" name="AutoShape 451"/>
            <p:cNvSpPr>
              <a:spLocks noChangeArrowheads="1"/>
            </p:cNvSpPr>
            <p:nvPr/>
          </p:nvSpPr>
          <p:spPr bwMode="auto">
            <a:xfrm>
              <a:off x="4445462" y="5259492"/>
              <a:ext cx="2449805" cy="755023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Will be purchased</a:t>
              </a:r>
              <a:endParaRPr lang="ru-RU" sz="1000" dirty="0" smtClean="0">
                <a:solidFill>
                  <a:schemeClr val="tx2"/>
                </a:solidFill>
                <a:cs typeface="Arial" pitchFamily="34" charset="0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18,5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thousand </a:t>
              </a: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200" b="1" dirty="0" smtClean="0">
                <a:solidFill>
                  <a:schemeClr val="tx2"/>
                </a:solidFill>
                <a:cs typeface="Arial" pitchFamily="34" charset="0"/>
              </a:endParaRPr>
            </a:p>
          </p:txBody>
        </p:sp>
        <p:sp>
          <p:nvSpPr>
            <p:cNvPr id="62" name="AutoShape 451"/>
            <p:cNvSpPr>
              <a:spLocks noChangeArrowheads="1"/>
            </p:cNvSpPr>
            <p:nvPr/>
          </p:nvSpPr>
          <p:spPr bwMode="auto">
            <a:xfrm>
              <a:off x="3202019" y="5943787"/>
              <a:ext cx="2312804" cy="522708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Purchased</a:t>
              </a:r>
              <a:endParaRPr lang="ru-RU" sz="1100" dirty="0" smtClean="0">
                <a:solidFill>
                  <a:schemeClr val="tx2"/>
                </a:solidFill>
                <a:latin typeface="+mj-lt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937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400" b="1" dirty="0" smtClean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63" name="AutoShape 451"/>
            <p:cNvSpPr>
              <a:spLocks noChangeArrowheads="1"/>
            </p:cNvSpPr>
            <p:nvPr/>
          </p:nvSpPr>
          <p:spPr bwMode="auto">
            <a:xfrm>
              <a:off x="4569259" y="5962928"/>
              <a:ext cx="2232248" cy="522708"/>
            </a:xfrm>
            <a:prstGeom prst="roundRect">
              <a:avLst>
                <a:gd name="adj" fmla="val 8431"/>
              </a:avLst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en-US" sz="1000" dirty="0" smtClean="0">
                  <a:solidFill>
                    <a:schemeClr val="tx2"/>
                  </a:solidFill>
                  <a:cs typeface="Arial" pitchFamily="34" charset="0"/>
                </a:rPr>
                <a:t>Will be purchased</a:t>
              </a:r>
              <a:endParaRPr lang="ru-RU" sz="1000" dirty="0" smtClean="0">
                <a:solidFill>
                  <a:schemeClr val="tx2"/>
                </a:solidFill>
                <a:cs typeface="Arial" pitchFamily="34" charset="0"/>
              </a:endParaRPr>
            </a:p>
            <a:p>
              <a:pPr algn="ctr" defTabSz="407988" hangingPunct="0">
                <a:lnSpc>
                  <a:spcPct val="120000"/>
                </a:lnSpc>
                <a:buClr>
                  <a:srgbClr val="000000"/>
                </a:buClr>
                <a:tabLst>
                  <a:tab pos="657225" algn="l"/>
                  <a:tab pos="1312863" algn="l"/>
                </a:tabLst>
                <a:defRPr/>
              </a:pPr>
              <a:r>
                <a:rPr lang="ru-RU" sz="1200" b="1" dirty="0" smtClean="0">
                  <a:solidFill>
                    <a:schemeClr val="tx2"/>
                  </a:solidFill>
                  <a:cs typeface="Arial" pitchFamily="34" charset="0"/>
                </a:rPr>
                <a:t>1 201 </a:t>
              </a:r>
              <a:r>
                <a:rPr lang="en-US" sz="1200" b="1" dirty="0" smtClean="0">
                  <a:solidFill>
                    <a:schemeClr val="tx2"/>
                  </a:solidFill>
                  <a:cs typeface="Arial" pitchFamily="34" charset="0"/>
                </a:rPr>
                <a:t>units</a:t>
              </a:r>
              <a:endParaRPr lang="ru-RU" sz="1200" b="1" dirty="0" smtClean="0">
                <a:solidFill>
                  <a:schemeClr val="tx2"/>
                </a:solidFill>
                <a:cs typeface="Arial" pitchFamily="34" charset="0"/>
              </a:endParaRPr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2065368" y="4526588"/>
              <a:ext cx="2151692" cy="2088180"/>
              <a:chOff x="2024868" y="4540236"/>
              <a:chExt cx="2151692" cy="2088180"/>
            </a:xfrm>
          </p:grpSpPr>
          <p:grpSp>
            <p:nvGrpSpPr>
              <p:cNvPr id="4" name="Группа 3"/>
              <p:cNvGrpSpPr/>
              <p:nvPr/>
            </p:nvGrpSpPr>
            <p:grpSpPr>
              <a:xfrm>
                <a:off x="2195736" y="4540236"/>
                <a:ext cx="1825519" cy="2088180"/>
                <a:chOff x="2168884" y="4540184"/>
                <a:chExt cx="1825519" cy="2088180"/>
              </a:xfrm>
            </p:grpSpPr>
            <p:pic>
              <p:nvPicPr>
                <p:cNvPr id="53" name="Picture 6" descr="Alstom_loco_07 "/>
                <p:cNvPicPr>
                  <a:picLocks noChangeArrowheads="1"/>
                </p:cNvPicPr>
                <p:nvPr/>
              </p:nvPicPr>
              <p:blipFill>
                <a:blip r:embed="rId9" cstate="print"/>
                <a:stretch>
                  <a:fillRect/>
                </a:stretch>
              </p:blipFill>
              <p:spPr bwMode="auto">
                <a:xfrm>
                  <a:off x="2530839" y="4675352"/>
                  <a:ext cx="1106972" cy="524355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56" name="AutoShape 451"/>
                <p:cNvSpPr>
                  <a:spLocks noChangeArrowheads="1"/>
                </p:cNvSpPr>
                <p:nvPr/>
              </p:nvSpPr>
              <p:spPr bwMode="auto">
                <a:xfrm>
                  <a:off x="2254096" y="4540184"/>
                  <a:ext cx="1622317" cy="287235"/>
                </a:xfrm>
                <a:prstGeom prst="roundRect">
                  <a:avLst>
                    <a:gd name="adj" fmla="val 8431"/>
                  </a:avLst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407988" hangingPunct="0">
                    <a:lnSpc>
                      <a:spcPct val="120000"/>
                    </a:lnSpc>
                    <a:buClr>
                      <a:srgbClr val="000000"/>
                    </a:buClr>
                    <a:tabLst>
                      <a:tab pos="657225" algn="l"/>
                      <a:tab pos="1312863" algn="l"/>
                    </a:tabLst>
                    <a:defRPr/>
                  </a:pPr>
                  <a:r>
                    <a:rPr lang="en-US" sz="110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Impact" panose="020B0806030902050204" pitchFamily="34" charset="0"/>
                    </a:rPr>
                    <a:t>Locomotives</a:t>
                  </a:r>
                  <a:endPara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pic>
              <p:nvPicPr>
                <p:cNvPr id="57" name="Picture 3" descr="F:\FTD\26abb27924.jpg"/>
                <p:cNvPicPr>
                  <a:picLocks noChangeArrowheads="1"/>
                </p:cNvPicPr>
                <p:nvPr/>
              </p:nvPicPr>
              <p:blipFill>
                <a:blip r:embed="rId10" cstate="print"/>
                <a:stretch>
                  <a:fillRect/>
                </a:stretch>
              </p:blipFill>
              <p:spPr bwMode="auto">
                <a:xfrm>
                  <a:off x="2499795" y="5386628"/>
                  <a:ext cx="1163416" cy="521656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60" name="AutoShape 451"/>
                <p:cNvSpPr>
                  <a:spLocks noChangeArrowheads="1"/>
                </p:cNvSpPr>
                <p:nvPr/>
              </p:nvSpPr>
              <p:spPr bwMode="auto">
                <a:xfrm>
                  <a:off x="2168884" y="5157192"/>
                  <a:ext cx="1825519" cy="287235"/>
                </a:xfrm>
                <a:prstGeom prst="roundRect">
                  <a:avLst>
                    <a:gd name="adj" fmla="val 8431"/>
                  </a:avLst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defTabSz="407988" hangingPunct="0">
                    <a:lnSpc>
                      <a:spcPct val="120000"/>
                    </a:lnSpc>
                    <a:buClr>
                      <a:srgbClr val="000000"/>
                    </a:buClr>
                    <a:tabLst>
                      <a:tab pos="657225" algn="l"/>
                      <a:tab pos="1312863" algn="l"/>
                    </a:tabLst>
                    <a:defRPr/>
                  </a:pPr>
                  <a:r>
                    <a:rPr lang="en-US" sz="1100" dirty="0" smtClean="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latin typeface="Impact" panose="020B0806030902050204" pitchFamily="34" charset="0"/>
                    </a:rPr>
                    <a:t>Freight cars</a:t>
                  </a:r>
                  <a:endParaRPr lang="ru-RU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Impact" panose="020B0806030902050204" pitchFamily="34" charset="0"/>
                  </a:endParaRPr>
                </a:p>
              </p:txBody>
            </p:sp>
            <p:pic>
              <p:nvPicPr>
                <p:cNvPr id="61" name="Picture 48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 l="9062" t="2130" r="38959" b="57964"/>
                <a:stretch>
                  <a:fillRect/>
                </a:stretch>
              </p:blipFill>
              <p:spPr bwMode="auto">
                <a:xfrm>
                  <a:off x="2558457" y="6173595"/>
                  <a:ext cx="1079354" cy="45476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outerShdw dist="88900" dir="19380000" algn="ctr" rotWithShape="0">
                    <a:srgbClr val="000000">
                      <a:alpha val="0"/>
                    </a:srgbClr>
                  </a:outerShdw>
                </a:effectLst>
              </p:spPr>
            </p:pic>
          </p:grpSp>
          <p:sp>
            <p:nvSpPr>
              <p:cNvPr id="64" name="AutoShape 451"/>
              <p:cNvSpPr>
                <a:spLocks noChangeArrowheads="1"/>
              </p:cNvSpPr>
              <p:nvPr/>
            </p:nvSpPr>
            <p:spPr bwMode="auto">
              <a:xfrm>
                <a:off x="2024868" y="5887963"/>
                <a:ext cx="2151692" cy="287235"/>
              </a:xfrm>
              <a:prstGeom prst="roundRect">
                <a:avLst>
                  <a:gd name="adj" fmla="val 8431"/>
                </a:avLst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defTabSz="407988" hangingPunct="0">
                  <a:lnSpc>
                    <a:spcPct val="120000"/>
                  </a:lnSpc>
                  <a:buClr>
                    <a:srgbClr val="000000"/>
                  </a:buClr>
                  <a:tabLst>
                    <a:tab pos="657225" algn="l"/>
                    <a:tab pos="1312863" algn="l"/>
                  </a:tabLst>
                  <a:defRPr/>
                </a:pPr>
                <a:r>
                  <a:rPr lang="en-US" sz="11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Impact" panose="020B0806030902050204" pitchFamily="34" charset="0"/>
                  </a:rPr>
                  <a:t>Passenger cars</a:t>
                </a:r>
                <a:endParaRPr lang="ru-RU" sz="11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</p:grpSp>
      <p:sp>
        <p:nvSpPr>
          <p:cNvPr id="66" name="AutoShape 451"/>
          <p:cNvSpPr>
            <a:spLocks noChangeArrowheads="1"/>
          </p:cNvSpPr>
          <p:nvPr/>
        </p:nvSpPr>
        <p:spPr bwMode="auto">
          <a:xfrm>
            <a:off x="6772964" y="4941168"/>
            <a:ext cx="2366604" cy="1445514"/>
          </a:xfrm>
          <a:prstGeom prst="roundRect">
            <a:avLst>
              <a:gd name="adj" fmla="val 8431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>
            <a:spAutoFit/>
          </a:bodyPr>
          <a:lstStyle/>
          <a:p>
            <a:pPr algn="ctr" defTabSz="407988" hangingPunct="0">
              <a:lnSpc>
                <a:spcPct val="120000"/>
              </a:lnSpc>
              <a:buClr>
                <a:srgbClr val="000000"/>
              </a:buClr>
              <a:tabLst>
                <a:tab pos="657225" algn="l"/>
                <a:tab pos="1312863" algn="l"/>
              </a:tabLst>
              <a:defRPr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By 2020 decrease in wear of a rolling stock will be up to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 </a:t>
            </a:r>
            <a:endParaRPr lang="en-US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charset="0"/>
            </a:endParaRPr>
          </a:p>
          <a:p>
            <a:pPr algn="ctr" defTabSz="407988" hangingPunct="0">
              <a:buClr>
                <a:srgbClr val="000000"/>
              </a:buClr>
              <a:tabLst>
                <a:tab pos="657225" algn="l"/>
                <a:tab pos="1312863" algn="l"/>
              </a:tabLst>
              <a:defRPr/>
            </a:pPr>
            <a:r>
              <a:rPr lang="ru-RU" sz="3600" dirty="0" smtClean="0">
                <a:solidFill>
                  <a:srgbClr val="FF0000"/>
                </a:solidFill>
                <a:latin typeface="Impact" pitchFamily="34" charset="0"/>
                <a:cs typeface="Arial" pitchFamily="34" charset="0"/>
              </a:rPr>
              <a:t>40 %</a:t>
            </a:r>
          </a:p>
          <a:p>
            <a:pPr algn="ctr" defTabSz="407988" hangingPunct="0">
              <a:buClr>
                <a:srgbClr val="000000"/>
              </a:buClr>
              <a:tabLst>
                <a:tab pos="657225" algn="l"/>
                <a:tab pos="1312863" algn="l"/>
              </a:tabLst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(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standard level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Impact" pitchFamily="34" charset="0"/>
                <a:cs typeface="Arial" charset="0"/>
              </a:rPr>
              <a:t>) 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Impact" pitchFamily="34" charset="0"/>
              <a:cs typeface="Arial" charset="0"/>
            </a:endParaRPr>
          </a:p>
        </p:txBody>
      </p:sp>
      <p:pic>
        <p:nvPicPr>
          <p:cNvPr id="67" name="Picture 20" descr="C:\Documents and Settings\Admin\Мои документы\For prezentations\arrows\tick_64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813082" y="5705242"/>
            <a:ext cx="28416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Овал 68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7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:\Documents and Settings\kemengerov_m\Рабочий стол\Презентации\картинки\Самолеты\airpor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8182" y="1006610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1486293" y="1222634"/>
            <a:ext cx="217110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solidFill>
                  <a:srgbClr val="376092"/>
                </a:solidFill>
                <a:latin typeface="Impact" pitchFamily="34" charset="0"/>
                <a:cs typeface="Arial" charset="0"/>
              </a:rPr>
              <a:t>Reconstruction of all </a:t>
            </a:r>
          </a:p>
          <a:p>
            <a:pPr algn="ctr"/>
            <a:r>
              <a:rPr lang="en-US" sz="1600" dirty="0" smtClean="0">
                <a:solidFill>
                  <a:srgbClr val="376092"/>
                </a:solidFill>
                <a:latin typeface="Impact" pitchFamily="34" charset="0"/>
                <a:cs typeface="Arial" charset="0"/>
              </a:rPr>
              <a:t>18 airports</a:t>
            </a:r>
          </a:p>
        </p:txBody>
      </p:sp>
      <p:sp>
        <p:nvSpPr>
          <p:cNvPr id="7" name="Прямоугольник 19"/>
          <p:cNvSpPr>
            <a:spLocks noChangeArrowheads="1"/>
          </p:cNvSpPr>
          <p:nvPr/>
        </p:nvSpPr>
        <p:spPr bwMode="auto">
          <a:xfrm>
            <a:off x="-3282" y="2618328"/>
            <a:ext cx="233975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rgbClr val="376092"/>
                </a:solidFill>
                <a:latin typeface="Impact" pitchFamily="34" charset="0"/>
                <a:cs typeface="Arial" charset="0"/>
              </a:rPr>
              <a:t>Aircraft park will be modernized by new aircrafts</a:t>
            </a:r>
            <a:endParaRPr lang="ru-RU" sz="1400" dirty="0">
              <a:solidFill>
                <a:srgbClr val="376092"/>
              </a:solidFill>
              <a:latin typeface="Impact" pitchFamily="34" charset="0"/>
              <a:cs typeface="Arial" charset="0"/>
            </a:endParaRPr>
          </a:p>
        </p:txBody>
      </p:sp>
      <p:pic>
        <p:nvPicPr>
          <p:cNvPr id="8" name="Picture 3" descr="C:\Documents and Settings\kemengerov_m\Рабочий стол\Презентации\картинки\Самолеты\Самолет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44904" y="2703984"/>
            <a:ext cx="1728788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06" name="Picture 2" descr="C:\Documents and Settings\medeubaeva_d\Рабочий стол\ТрансЕвразия\1000px-Eurasia_(orthographic_projection).svg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lum bright="30000"/>
          </a:blip>
          <a:srcRect/>
          <a:stretch>
            <a:fillRect/>
          </a:stretch>
        </p:blipFill>
        <p:spPr bwMode="auto">
          <a:xfrm>
            <a:off x="3675246" y="645950"/>
            <a:ext cx="5472608" cy="54726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Пятиугольник 13"/>
          <p:cNvSpPr/>
          <p:nvPr/>
        </p:nvSpPr>
        <p:spPr>
          <a:xfrm>
            <a:off x="0" y="62202"/>
            <a:ext cx="4139952" cy="360040"/>
          </a:xfrm>
          <a:prstGeom prst="homePlate">
            <a:avLst/>
          </a:prstGeom>
          <a:solidFill>
            <a:srgbClr val="0066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latin typeface="Impact" pitchFamily="34" charset="0"/>
              </a:rPr>
              <a:t>Development of civil aviation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241832" y="677014"/>
            <a:ext cx="2232248" cy="288032"/>
          </a:xfrm>
          <a:prstGeom prst="rect">
            <a:avLst/>
          </a:prstGeom>
          <a:solidFill>
            <a:srgbClr val="7030A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Impact" pitchFamily="34" charset="0"/>
              </a:rPr>
              <a:t>Geography of flights </a:t>
            </a:r>
          </a:p>
        </p:txBody>
      </p:sp>
      <p:grpSp>
        <p:nvGrpSpPr>
          <p:cNvPr id="2" name="Группа 34"/>
          <p:cNvGrpSpPr/>
          <p:nvPr/>
        </p:nvGrpSpPr>
        <p:grpSpPr>
          <a:xfrm>
            <a:off x="3793560" y="4810800"/>
            <a:ext cx="5400600" cy="1122510"/>
            <a:chOff x="8748464" y="4437112"/>
            <a:chExt cx="5400600" cy="1122510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831358" y="4497793"/>
              <a:ext cx="5112568" cy="1061829"/>
            </a:xfrm>
            <a:prstGeom prst="rect">
              <a:avLst/>
            </a:prstGeom>
            <a:solidFill>
              <a:srgbClr val="7030A0">
                <a:alpha val="25000"/>
              </a:srgbClr>
            </a:solidFill>
          </p:spPr>
          <p:txBody>
            <a:bodyPr wrap="square">
              <a:spAutoFit/>
            </a:bodyPr>
            <a:lstStyle/>
            <a:p>
              <a:pPr algn="just"/>
              <a:endParaRPr lang="ru-RU" dirty="0" smtClean="0">
                <a:solidFill>
                  <a:srgbClr val="336600"/>
                </a:solidFill>
                <a:latin typeface="Impact" pitchFamily="34" charset="0"/>
              </a:endParaRPr>
            </a:p>
            <a:p>
              <a:pPr algn="just"/>
              <a:endParaRPr lang="ru-RU" dirty="0" smtClean="0">
                <a:solidFill>
                  <a:srgbClr val="336600"/>
                </a:solidFill>
                <a:latin typeface="Impact" pitchFamily="34" charset="0"/>
              </a:endParaRPr>
            </a:p>
            <a:p>
              <a:pPr algn="just"/>
              <a:endParaRPr lang="ru-RU" sz="900" dirty="0" smtClean="0">
                <a:solidFill>
                  <a:srgbClr val="336600"/>
                </a:solidFill>
                <a:latin typeface="Impact" pitchFamily="34" charset="0"/>
              </a:endParaRPr>
            </a:p>
            <a:p>
              <a:pPr algn="just"/>
              <a:r>
                <a:rPr lang="en-US" dirty="0" smtClean="0">
                  <a:solidFill>
                    <a:srgbClr val="336600"/>
                  </a:solidFill>
                  <a:latin typeface="Impact" pitchFamily="34" charset="0"/>
                </a:rPr>
                <a:t>By </a:t>
              </a:r>
              <a:r>
                <a:rPr lang="ru-RU" dirty="0" smtClean="0">
                  <a:solidFill>
                    <a:srgbClr val="336600"/>
                  </a:solidFill>
                  <a:latin typeface="Impact" pitchFamily="34" charset="0"/>
                </a:rPr>
                <a:t>2020 75 </a:t>
              </a:r>
              <a:r>
                <a:rPr lang="en-US" dirty="0" smtClean="0">
                  <a:solidFill>
                    <a:srgbClr val="336600"/>
                  </a:solidFill>
                  <a:latin typeface="Impact" pitchFamily="34" charset="0"/>
                </a:rPr>
                <a:t>new international routes will be opened</a:t>
              </a:r>
              <a:endParaRPr lang="ru-RU" dirty="0">
                <a:solidFill>
                  <a:srgbClr val="336600"/>
                </a:solidFill>
                <a:latin typeface="Impact" pitchFamily="34" charset="0"/>
              </a:endParaRPr>
            </a:p>
          </p:txBody>
        </p:sp>
        <p:sp>
          <p:nvSpPr>
            <p:cNvPr id="23" name="Прямоугольник 18"/>
            <p:cNvSpPr>
              <a:spLocks noChangeArrowheads="1"/>
            </p:cNvSpPr>
            <p:nvPr/>
          </p:nvSpPr>
          <p:spPr bwMode="auto">
            <a:xfrm>
              <a:off x="8748464" y="4437112"/>
              <a:ext cx="5400600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266700" indent="-177800">
                <a:spcBef>
                  <a:spcPts val="0"/>
                </a:spcBef>
                <a:buClr>
                  <a:srgbClr val="1F9546"/>
                </a:buClr>
                <a:buSzPct val="120000"/>
                <a:buFont typeface="Arial" pitchFamily="34" charset="0"/>
                <a:buChar char="•"/>
              </a:pPr>
              <a:r>
                <a:rPr lang="en-US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In</a:t>
              </a:r>
              <a:r>
                <a:rPr lang="ru-RU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 </a:t>
              </a:r>
              <a:r>
                <a:rPr lang="ru-RU" altLang="ru-RU" sz="1200" dirty="0">
                  <a:solidFill>
                    <a:schemeClr val="tx2"/>
                  </a:solidFill>
                  <a:latin typeface="Impact" pitchFamily="34" charset="0"/>
                </a:rPr>
                <a:t>2013 </a:t>
              </a:r>
              <a:r>
                <a:rPr lang="ru-RU" altLang="ru-RU" sz="1600" dirty="0" smtClean="0">
                  <a:solidFill>
                    <a:srgbClr val="C00000"/>
                  </a:solidFill>
                  <a:latin typeface="Impact" pitchFamily="34" charset="0"/>
                  <a:cs typeface="Calibri" pitchFamily="34" charset="0"/>
                </a:rPr>
                <a:t>14</a:t>
              </a:r>
              <a:r>
                <a:rPr lang="ru-RU" altLang="ru-RU" sz="1200" dirty="0" smtClean="0">
                  <a:solidFill>
                    <a:srgbClr val="595959"/>
                  </a:solidFill>
                  <a:latin typeface="Impact" pitchFamily="34" charset="0"/>
                </a:rPr>
                <a:t> </a:t>
              </a:r>
              <a:r>
                <a:rPr lang="en-US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new international routes were opened</a:t>
              </a:r>
              <a:r>
                <a:rPr lang="ru-RU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; </a:t>
              </a:r>
              <a:endParaRPr lang="ru-RU" altLang="ru-RU" sz="900" dirty="0">
                <a:solidFill>
                  <a:srgbClr val="595959"/>
                </a:solidFill>
                <a:latin typeface="Impact" pitchFamily="34" charset="0"/>
              </a:endParaRPr>
            </a:p>
            <a:p>
              <a:pPr marL="266700" indent="-177800">
                <a:spcBef>
                  <a:spcPts val="0"/>
                </a:spcBef>
                <a:buClr>
                  <a:srgbClr val="1F9546"/>
                </a:buClr>
                <a:buSzPct val="120000"/>
                <a:buFont typeface="Arial" pitchFamily="34" charset="0"/>
                <a:buChar char="•"/>
              </a:pPr>
              <a:r>
                <a:rPr lang="en-US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In</a:t>
              </a:r>
              <a:r>
                <a:rPr lang="ru-RU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 2014 </a:t>
              </a:r>
              <a:r>
                <a:rPr lang="en-US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it is planned to open</a:t>
              </a:r>
              <a:r>
                <a:rPr lang="ru-RU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ru-RU" altLang="ru-RU" sz="1600" dirty="0">
                  <a:solidFill>
                    <a:srgbClr val="C00000"/>
                  </a:solidFill>
                  <a:latin typeface="Impact" pitchFamily="34" charset="0"/>
                  <a:cs typeface="Calibri" pitchFamily="34" charset="0"/>
                </a:rPr>
                <a:t>13</a:t>
              </a:r>
              <a:r>
                <a:rPr lang="ru-RU" altLang="ru-RU" sz="1200" dirty="0">
                  <a:solidFill>
                    <a:srgbClr val="595959"/>
                  </a:solidFill>
                  <a:latin typeface="Impact" pitchFamily="34" charset="0"/>
                </a:rPr>
                <a:t> </a:t>
              </a:r>
              <a:r>
                <a:rPr lang="en-US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new international routes</a:t>
              </a:r>
              <a:r>
                <a:rPr lang="ru-RU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; </a:t>
              </a:r>
              <a:endParaRPr lang="ru-RU" altLang="ru-RU" sz="1000" dirty="0">
                <a:solidFill>
                  <a:srgbClr val="595959"/>
                </a:solidFill>
                <a:latin typeface="Impact" pitchFamily="34" charset="0"/>
              </a:endParaRPr>
            </a:p>
            <a:p>
              <a:pPr marL="266700" indent="-177800">
                <a:spcBef>
                  <a:spcPts val="0"/>
                </a:spcBef>
                <a:buClr>
                  <a:srgbClr val="1F9546"/>
                </a:buClr>
                <a:buSzPct val="120000"/>
                <a:buFont typeface="Arial" pitchFamily="34" charset="0"/>
                <a:buChar char="•"/>
              </a:pPr>
              <a:r>
                <a:rPr lang="en-US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In</a:t>
              </a:r>
              <a:r>
                <a:rPr lang="ru-RU" altLang="ru-RU" sz="1200" dirty="0" smtClean="0">
                  <a:solidFill>
                    <a:schemeClr val="tx2"/>
                  </a:solidFill>
                  <a:latin typeface="Impact" pitchFamily="34" charset="0"/>
                </a:rPr>
                <a:t> 2015 </a:t>
              </a:r>
              <a:r>
                <a:rPr lang="en-US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it is planned to open</a:t>
              </a:r>
              <a:r>
                <a:rPr lang="ru-RU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ru-RU" altLang="ru-RU" sz="1600" dirty="0" smtClean="0">
                  <a:solidFill>
                    <a:srgbClr val="C00000"/>
                  </a:solidFill>
                  <a:latin typeface="Impact" pitchFamily="34" charset="0"/>
                  <a:cs typeface="Calibri" pitchFamily="34" charset="0"/>
                </a:rPr>
                <a:t>13</a:t>
              </a:r>
              <a:r>
                <a:rPr lang="ru-RU" altLang="ru-RU" sz="1200" dirty="0" smtClean="0">
                  <a:solidFill>
                    <a:srgbClr val="595959"/>
                  </a:solidFill>
                  <a:latin typeface="Impact" pitchFamily="34" charset="0"/>
                </a:rPr>
                <a:t> </a:t>
              </a:r>
              <a:r>
                <a:rPr lang="en-US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</a:rPr>
                <a:t>new international routes</a:t>
              </a:r>
              <a:r>
                <a:rPr lang="ru-RU" alt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.</a:t>
              </a:r>
              <a:endParaRPr lang="ru-RU" alt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4" name="Выгнутая вправо стрелка 23"/>
          <p:cNvSpPr/>
          <p:nvPr/>
        </p:nvSpPr>
        <p:spPr>
          <a:xfrm>
            <a:off x="6350428" y="2158118"/>
            <a:ext cx="720080" cy="936104"/>
          </a:xfrm>
          <a:prstGeom prst="curvedLeftArrow">
            <a:avLst/>
          </a:prstGeom>
          <a:solidFill>
            <a:srgbClr val="7030A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Выгнутая вправо стрелка 24"/>
          <p:cNvSpPr/>
          <p:nvPr/>
        </p:nvSpPr>
        <p:spPr>
          <a:xfrm rot="11149055">
            <a:off x="5434051" y="2080844"/>
            <a:ext cx="720080" cy="936104"/>
          </a:xfrm>
          <a:prstGeom prst="curvedLeftArrow">
            <a:avLst/>
          </a:prstGeom>
          <a:solidFill>
            <a:srgbClr val="7030A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>
          <a:xfrm rot="4051220">
            <a:off x="6127257" y="3329608"/>
            <a:ext cx="1529777" cy="928672"/>
          </a:xfrm>
          <a:prstGeom prst="rightArrow">
            <a:avLst/>
          </a:prstGeom>
          <a:solidFill>
            <a:srgbClr val="7030A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Impact" pitchFamily="34" charset="0"/>
              </a:rPr>
              <a:t>Asia-South - </a:t>
            </a:r>
            <a:r>
              <a:rPr lang="en-US" sz="1600" dirty="0" smtClean="0">
                <a:solidFill>
                  <a:srgbClr val="C00000"/>
                </a:solidFill>
                <a:latin typeface="Impact" pitchFamily="34" charset="0"/>
              </a:rPr>
              <a:t>27</a:t>
            </a:r>
            <a:r>
              <a:rPr lang="ru-RU" sz="1400" dirty="0" smtClean="0">
                <a:latin typeface="Impact" pitchFamily="34" charset="0"/>
              </a:rPr>
              <a:t> </a:t>
            </a:r>
            <a:r>
              <a:rPr lang="en-US" sz="1400" dirty="0" smtClean="0">
                <a:latin typeface="Impact" pitchFamily="34" charset="0"/>
              </a:rPr>
              <a:t>routes</a:t>
            </a:r>
            <a:endParaRPr lang="ru-RU" sz="1400" dirty="0">
              <a:latin typeface="Impact" pitchFamily="34" charset="0"/>
            </a:endParaRPr>
          </a:p>
        </p:txBody>
      </p:sp>
      <p:sp>
        <p:nvSpPr>
          <p:cNvPr id="21" name="Стрелка влево 20"/>
          <p:cNvSpPr/>
          <p:nvPr/>
        </p:nvSpPr>
        <p:spPr>
          <a:xfrm rot="424659">
            <a:off x="4127508" y="1521133"/>
            <a:ext cx="1775043" cy="720080"/>
          </a:xfrm>
          <a:prstGeom prst="leftArrow">
            <a:avLst/>
          </a:prstGeom>
          <a:solidFill>
            <a:srgbClr val="7030A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Impact" pitchFamily="34" charset="0"/>
              </a:rPr>
              <a:t>EU </a:t>
            </a:r>
            <a:r>
              <a:rPr lang="ru-RU" sz="1400" dirty="0" smtClean="0">
                <a:latin typeface="Impact" pitchFamily="34" charset="0"/>
              </a:rPr>
              <a:t>– </a:t>
            </a:r>
            <a:r>
              <a:rPr lang="en-US" sz="1600" dirty="0">
                <a:solidFill>
                  <a:srgbClr val="C00000"/>
                </a:solidFill>
                <a:latin typeface="Impact" pitchFamily="34" charset="0"/>
              </a:rPr>
              <a:t>8</a:t>
            </a:r>
            <a:r>
              <a:rPr lang="ru-RU" sz="1600" dirty="0" smtClean="0">
                <a:solidFill>
                  <a:srgbClr val="C00000"/>
                </a:solidFill>
                <a:latin typeface="Impact" pitchFamily="34" charset="0"/>
              </a:rPr>
              <a:t> </a:t>
            </a:r>
            <a:r>
              <a:rPr lang="en-US" sz="1400" dirty="0" smtClean="0">
                <a:latin typeface="Impact" pitchFamily="34" charset="0"/>
              </a:rPr>
              <a:t>routes</a:t>
            </a:r>
            <a:endParaRPr lang="ru-RU" sz="1400" dirty="0" smtClean="0">
              <a:latin typeface="Impact" pitchFamily="34" charset="0"/>
            </a:endParaRPr>
          </a:p>
        </p:txBody>
      </p:sp>
      <p:grpSp>
        <p:nvGrpSpPr>
          <p:cNvPr id="6" name="Группа 28"/>
          <p:cNvGrpSpPr/>
          <p:nvPr/>
        </p:nvGrpSpPr>
        <p:grpSpPr>
          <a:xfrm>
            <a:off x="5968616" y="1769614"/>
            <a:ext cx="1998646" cy="362802"/>
            <a:chOff x="5940152" y="1294462"/>
            <a:chExt cx="1998646" cy="362802"/>
          </a:xfrm>
        </p:grpSpPr>
        <p:sp>
          <p:nvSpPr>
            <p:cNvPr id="28" name="Овал 27"/>
            <p:cNvSpPr/>
            <p:nvPr/>
          </p:nvSpPr>
          <p:spPr>
            <a:xfrm>
              <a:off x="5940152" y="1297224"/>
              <a:ext cx="1782622" cy="360040"/>
            </a:xfrm>
            <a:prstGeom prst="ellipse">
              <a:avLst/>
            </a:prstGeom>
            <a:solidFill>
              <a:srgbClr val="7030A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smtClean="0">
                <a:latin typeface="Impact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020284" y="1294462"/>
              <a:ext cx="19185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>
                  <a:solidFill>
                    <a:schemeClr val="bg1"/>
                  </a:solidFill>
                  <a:latin typeface="Impact" pitchFamily="34" charset="0"/>
                </a:rPr>
                <a:t>CIS </a:t>
              </a:r>
              <a:r>
                <a:rPr lang="ru-RU" sz="1400" dirty="0" smtClean="0">
                  <a:solidFill>
                    <a:schemeClr val="bg1"/>
                  </a:solidFill>
                  <a:latin typeface="Impact" pitchFamily="34" charset="0"/>
                </a:rPr>
                <a:t>– </a:t>
              </a:r>
              <a:r>
                <a:rPr lang="ru-RU" sz="1600" dirty="0" smtClean="0">
                  <a:solidFill>
                    <a:srgbClr val="C00000"/>
                  </a:solidFill>
                  <a:latin typeface="Impact" pitchFamily="34" charset="0"/>
                </a:rPr>
                <a:t>4</a:t>
              </a:r>
              <a:r>
                <a:rPr lang="en-US" sz="1600" dirty="0" smtClean="0">
                  <a:solidFill>
                    <a:srgbClr val="C00000"/>
                  </a:solidFill>
                  <a:latin typeface="Impact" pitchFamily="34" charset="0"/>
                </a:rPr>
                <a:t>9</a:t>
              </a:r>
              <a:r>
                <a:rPr lang="ru-RU" sz="1400" dirty="0" smtClean="0">
                  <a:solidFill>
                    <a:schemeClr val="bg1"/>
                  </a:solidFill>
                  <a:latin typeface="Impact" pitchFamily="34" charset="0"/>
                </a:rPr>
                <a:t> </a:t>
              </a:r>
              <a:r>
                <a:rPr lang="en-US" sz="1400" dirty="0" smtClean="0">
                  <a:solidFill>
                    <a:schemeClr val="bg1"/>
                  </a:solidFill>
                  <a:latin typeface="Impact" pitchFamily="34" charset="0"/>
                </a:rPr>
                <a:t>routes</a:t>
              </a:r>
              <a:endParaRPr lang="ru-RU" sz="1400" dirty="0">
                <a:solidFill>
                  <a:schemeClr val="bg1"/>
                </a:solidFill>
                <a:latin typeface="Impact" pitchFamily="34" charset="0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163021" y="4221088"/>
            <a:ext cx="3622231" cy="2073716"/>
            <a:chOff x="174172" y="2780928"/>
            <a:chExt cx="3622231" cy="2073716"/>
          </a:xfrm>
          <a:solidFill>
            <a:schemeClr val="bg1">
              <a:lumMod val="85000"/>
            </a:schemeClr>
          </a:solidFill>
        </p:grpSpPr>
        <p:sp>
          <p:nvSpPr>
            <p:cNvPr id="30" name="Заголовок 2"/>
            <p:cNvSpPr txBox="1">
              <a:spLocks/>
            </p:cNvSpPr>
            <p:nvPr/>
          </p:nvSpPr>
          <p:spPr bwMode="auto">
            <a:xfrm>
              <a:off x="174172" y="2780928"/>
              <a:ext cx="3605740" cy="357187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defTabSz="987425"/>
              <a:r>
                <a:rPr lang="en-US" altLang="ru-RU" sz="1600" dirty="0" smtClean="0">
                  <a:solidFill>
                    <a:srgbClr val="C00000"/>
                  </a:solidFill>
                  <a:latin typeface="Impact" pitchFamily="34" charset="0"/>
                  <a:cs typeface="Times New Roman" pitchFamily="18" charset="0"/>
                </a:rPr>
                <a:t>Development of the airports</a:t>
              </a:r>
              <a:endParaRPr lang="ru-RU" altLang="ru-RU" sz="1600" dirty="0">
                <a:solidFill>
                  <a:srgbClr val="C00000"/>
                </a:solidFill>
                <a:latin typeface="Impact" pitchFamily="34" charset="0"/>
                <a:cs typeface="Times New Roman" pitchFamily="18" charset="0"/>
              </a:endParaRPr>
            </a:p>
          </p:txBody>
        </p:sp>
        <p:sp>
          <p:nvSpPr>
            <p:cNvPr id="32" name="Rectangle 14"/>
            <p:cNvSpPr>
              <a:spLocks noChangeArrowheads="1"/>
            </p:cNvSpPr>
            <p:nvPr/>
          </p:nvSpPr>
          <p:spPr bwMode="auto">
            <a:xfrm>
              <a:off x="190663" y="3284984"/>
              <a:ext cx="3605740" cy="156966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975" indent="-180975" eaLnBrk="1" hangingPunct="1">
                <a:buClr>
                  <a:srgbClr val="1F9546"/>
                </a:buClr>
                <a:buFont typeface="Arial" pitchFamily="34" charset="0"/>
                <a:buChar char="•"/>
                <a:defRPr/>
              </a:pPr>
              <a:r>
                <a:rPr lang="en-US" altLang="ru-RU" sz="1600" dirty="0" smtClean="0">
                  <a:solidFill>
                    <a:srgbClr val="FF0000"/>
                  </a:solidFill>
                  <a:latin typeface="Impact" pitchFamily="34" charset="0"/>
                  <a:cs typeface="Calibri" pitchFamily="34" charset="0"/>
                </a:rPr>
                <a:t>12</a:t>
              </a:r>
              <a:r>
                <a:rPr lang="en-US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 from </a:t>
              </a:r>
              <a:r>
                <a:rPr lang="ru-RU" altLang="ru-RU" sz="1600" dirty="0" smtClean="0">
                  <a:solidFill>
                    <a:srgbClr val="FF0000"/>
                  </a:solidFill>
                  <a:latin typeface="Impact" pitchFamily="34" charset="0"/>
                  <a:cs typeface="Calibri" pitchFamily="34" charset="0"/>
                </a:rPr>
                <a:t>18</a:t>
              </a:r>
              <a:r>
                <a:rPr lang="ru-RU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 </a:t>
              </a:r>
              <a:r>
                <a:rPr lang="en-US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airports have an ICAO category</a:t>
              </a:r>
              <a:endParaRPr lang="ru-RU" alt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endParaRPr>
            </a:p>
            <a:p>
              <a:pPr marL="180975" indent="-180975" eaLnBrk="1" hangingPunct="1">
                <a:buClr>
                  <a:srgbClr val="1F9546"/>
                </a:buClr>
                <a:buFont typeface="Arial" pitchFamily="34" charset="0"/>
                <a:buChar char="•"/>
                <a:defRPr/>
              </a:pPr>
              <a:endParaRPr lang="ru-RU" alt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endParaRPr>
            </a:p>
            <a:p>
              <a:pPr marL="180975" indent="-180975" eaLnBrk="1" hangingPunct="1">
                <a:buClr>
                  <a:srgbClr val="1F9546"/>
                </a:buClr>
                <a:buFont typeface="Arial" pitchFamily="34" charset="0"/>
                <a:buChar char="•"/>
                <a:defRPr/>
              </a:pPr>
              <a:endParaRPr lang="ru-RU" alt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endParaRPr>
            </a:p>
            <a:p>
              <a:pPr marL="180975" indent="-180975" eaLnBrk="1" hangingPunct="1">
                <a:buClr>
                  <a:srgbClr val="1F9546"/>
                </a:buClr>
                <a:buFont typeface="Arial" pitchFamily="34" charset="0"/>
                <a:buChar char="•"/>
                <a:defRPr/>
              </a:pPr>
              <a:r>
                <a:rPr lang="en-US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By </a:t>
              </a:r>
              <a:r>
                <a:rPr lang="ru-RU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2020</a:t>
              </a:r>
              <a:r>
                <a:rPr lang="en-US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 all</a:t>
              </a:r>
              <a:r>
                <a:rPr lang="ru-RU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 </a:t>
              </a:r>
              <a:r>
                <a:rPr lang="ru-RU" altLang="ru-RU" sz="1600" dirty="0" smtClean="0">
                  <a:solidFill>
                    <a:srgbClr val="FF0000"/>
                  </a:solidFill>
                  <a:latin typeface="Impact" pitchFamily="34" charset="0"/>
                  <a:cs typeface="Calibri" pitchFamily="34" charset="0"/>
                </a:rPr>
                <a:t>18</a:t>
              </a:r>
              <a:r>
                <a:rPr lang="ru-RU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 </a:t>
              </a:r>
              <a:r>
                <a:rPr lang="en-US" altLang="ru-RU" sz="16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mpact" pitchFamily="34" charset="0"/>
                  <a:cs typeface="Calibri" pitchFamily="34" charset="0"/>
                </a:rPr>
                <a:t>airports will have ICAO category </a:t>
              </a:r>
              <a:endParaRPr lang="ru-RU" alt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mpact" pitchFamily="34" charset="0"/>
                <a:cs typeface="Calibri" pitchFamily="34" charset="0"/>
              </a:endParaRPr>
            </a:p>
          </p:txBody>
        </p:sp>
      </p:grpSp>
      <p:pic>
        <p:nvPicPr>
          <p:cNvPr id="18" name="Picture 2" descr="D:\For prezentations\transport\plane_256.png"/>
          <p:cNvPicPr>
            <a:picLocks noChangeAspect="1" noChangeArrowheads="1"/>
          </p:cNvPicPr>
          <p:nvPr/>
        </p:nvPicPr>
        <p:blipFill>
          <a:blip r:embed="rId5" cstate="print"/>
          <a:srcRect t="16125" b="951"/>
          <a:stretch>
            <a:fillRect/>
          </a:stretch>
        </p:blipFill>
        <p:spPr bwMode="auto">
          <a:xfrm>
            <a:off x="5652120" y="2158118"/>
            <a:ext cx="1274372" cy="110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Овал 26"/>
          <p:cNvSpPr/>
          <p:nvPr/>
        </p:nvSpPr>
        <p:spPr>
          <a:xfrm>
            <a:off x="8842244" y="6590660"/>
            <a:ext cx="277146" cy="248682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Impact" pitchFamily="34" charset="0"/>
              </a:rPr>
              <a:t>8</a:t>
            </a:r>
            <a:endParaRPr lang="ru-RU" sz="1400" dirty="0">
              <a:latin typeface="Impact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PrTC8BEUyukSYkvMEx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PrTC8BEUyukSYkvMEx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PrTC8BEUyukSYkvMExO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7</TotalTime>
  <Words>1545</Words>
  <Application>Microsoft Office PowerPoint</Application>
  <PresentationFormat>On-screen Show (4:3)</PresentationFormat>
  <Paragraphs>385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MS PGothic</vt:lpstr>
      <vt:lpstr>Arial</vt:lpstr>
      <vt:lpstr>Calibri</vt:lpstr>
      <vt:lpstr>Impact</vt:lpstr>
      <vt:lpstr>Times New Roman</vt:lpstr>
      <vt:lpstr>Wingdings</vt:lpstr>
      <vt:lpstr>Wingdings 2</vt:lpstr>
      <vt:lpstr>Оформление по умолчанию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CHANICAL ENGINEERING PROJECTS IN RAILWAY SECTOR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мтк рк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ukataev_d</dc:creator>
  <cp:lastModifiedBy>Gholamhossein Darzi</cp:lastModifiedBy>
  <cp:revision>546</cp:revision>
  <dcterms:created xsi:type="dcterms:W3CDTF">2011-08-08T06:27:44Z</dcterms:created>
  <dcterms:modified xsi:type="dcterms:W3CDTF">2014-11-02T06:20:28Z</dcterms:modified>
</cp:coreProperties>
</file>